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1"/>
    <p:sldMasterId id="2147483927" r:id="rId2"/>
  </p:sldMasterIdLst>
  <p:notesMasterIdLst>
    <p:notesMasterId r:id="rId32"/>
  </p:notesMasterIdLst>
  <p:sldIdLst>
    <p:sldId id="257" r:id="rId3"/>
    <p:sldId id="258" r:id="rId4"/>
    <p:sldId id="277" r:id="rId5"/>
    <p:sldId id="278" r:id="rId6"/>
    <p:sldId id="281" r:id="rId7"/>
    <p:sldId id="282" r:id="rId8"/>
    <p:sldId id="272" r:id="rId9"/>
    <p:sldId id="263" r:id="rId10"/>
    <p:sldId id="286" r:id="rId11"/>
    <p:sldId id="283" r:id="rId12"/>
    <p:sldId id="288" r:id="rId13"/>
    <p:sldId id="268" r:id="rId14"/>
    <p:sldId id="269" r:id="rId15"/>
    <p:sldId id="285" r:id="rId16"/>
    <p:sldId id="289" r:id="rId17"/>
    <p:sldId id="290" r:id="rId18"/>
    <p:sldId id="300" r:id="rId19"/>
    <p:sldId id="301" r:id="rId20"/>
    <p:sldId id="298" r:id="rId21"/>
    <p:sldId id="284" r:id="rId22"/>
    <p:sldId id="270" r:id="rId23"/>
    <p:sldId id="271" r:id="rId24"/>
    <p:sldId id="294" r:id="rId25"/>
    <p:sldId id="297" r:id="rId26"/>
    <p:sldId id="279" r:id="rId27"/>
    <p:sldId id="265" r:id="rId28"/>
    <p:sldId id="295" r:id="rId29"/>
    <p:sldId id="299" r:id="rId30"/>
    <p:sldId id="296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5099" autoAdjust="0"/>
  </p:normalViewPr>
  <p:slideViewPr>
    <p:cSldViewPr snapToGrid="0">
      <p:cViewPr varScale="1">
        <p:scale>
          <a:sx n="66" d="100"/>
          <a:sy n="66" d="100"/>
        </p:scale>
        <p:origin x="10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7966F8-822D-41E3-B7B9-1DD19EBABD83}" type="doc">
      <dgm:prSet loTypeId="urn:microsoft.com/office/officeart/2005/8/layout/vList5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E8F64C38-E178-4A90-BE1E-F8E5945F5970}">
      <dgm:prSet phldrT="[Text]"/>
      <dgm:spPr/>
      <dgm:t>
        <a:bodyPr/>
        <a:lstStyle/>
        <a:p>
          <a:r>
            <a:rPr lang="en-US" dirty="0" smtClean="0"/>
            <a:t>Essential Question</a:t>
          </a:r>
          <a:endParaRPr lang="en-US" dirty="0"/>
        </a:p>
      </dgm:t>
    </dgm:pt>
    <dgm:pt modelId="{58FDCB34-98C5-4009-9693-AE6B0FE2DA1A}" type="parTrans" cxnId="{056478E7-EEE8-420B-A466-345F3603B227}">
      <dgm:prSet/>
      <dgm:spPr/>
      <dgm:t>
        <a:bodyPr/>
        <a:lstStyle/>
        <a:p>
          <a:endParaRPr lang="en-US"/>
        </a:p>
      </dgm:t>
    </dgm:pt>
    <dgm:pt modelId="{C13EE644-8CD3-4231-A4D4-C69C91C57386}" type="sibTrans" cxnId="{056478E7-EEE8-420B-A466-345F3603B227}">
      <dgm:prSet/>
      <dgm:spPr/>
      <dgm:t>
        <a:bodyPr/>
        <a:lstStyle/>
        <a:p>
          <a:endParaRPr lang="en-US"/>
        </a:p>
      </dgm:t>
    </dgm:pt>
    <dgm:pt modelId="{C85B6833-D6BD-40DC-97A0-18BE4B22BAFB}">
      <dgm:prSet phldrT="[Text]" custT="1"/>
      <dgm:spPr/>
      <dgm:t>
        <a:bodyPr/>
        <a:lstStyle/>
        <a:p>
          <a:r>
            <a:rPr lang="en-US" sz="2000" b="1" dirty="0" smtClean="0"/>
            <a:t>How do we use time as an opportunity?    </a:t>
          </a:r>
          <a:endParaRPr lang="en-US" sz="2000" b="1" dirty="0"/>
        </a:p>
      </dgm:t>
    </dgm:pt>
    <dgm:pt modelId="{F2378F70-A71F-47EE-AFB3-AF5323F18878}" type="parTrans" cxnId="{3761AB7E-7B44-457A-90FB-A0F0496F2B9A}">
      <dgm:prSet/>
      <dgm:spPr/>
      <dgm:t>
        <a:bodyPr/>
        <a:lstStyle/>
        <a:p>
          <a:endParaRPr lang="en-US"/>
        </a:p>
      </dgm:t>
    </dgm:pt>
    <dgm:pt modelId="{A97175EF-0380-4D7A-938F-BBC39BD301F7}" type="sibTrans" cxnId="{3761AB7E-7B44-457A-90FB-A0F0496F2B9A}">
      <dgm:prSet/>
      <dgm:spPr/>
      <dgm:t>
        <a:bodyPr/>
        <a:lstStyle/>
        <a:p>
          <a:endParaRPr lang="en-US"/>
        </a:p>
      </dgm:t>
    </dgm:pt>
    <dgm:pt modelId="{3CB78CAB-CC40-470A-AABB-BFEFFF016C55}">
      <dgm:prSet phldrT="[Text]"/>
      <dgm:spPr/>
      <dgm:t>
        <a:bodyPr/>
        <a:lstStyle/>
        <a:p>
          <a:r>
            <a:rPr lang="en-US" dirty="0" smtClean="0"/>
            <a:t>Learning Goal </a:t>
          </a:r>
          <a:endParaRPr lang="en-US" dirty="0"/>
        </a:p>
      </dgm:t>
    </dgm:pt>
    <dgm:pt modelId="{333A6423-FA2C-4FB4-BE11-D253D0CA97C1}" type="parTrans" cxnId="{39B51E06-9E4B-4A58-8BBD-15CC5D258E47}">
      <dgm:prSet/>
      <dgm:spPr/>
      <dgm:t>
        <a:bodyPr/>
        <a:lstStyle/>
        <a:p>
          <a:endParaRPr lang="en-US"/>
        </a:p>
      </dgm:t>
    </dgm:pt>
    <dgm:pt modelId="{2D0B7EC2-DE42-4E95-8F24-CBFF1F2D3F8A}" type="sibTrans" cxnId="{39B51E06-9E4B-4A58-8BBD-15CC5D258E47}">
      <dgm:prSet/>
      <dgm:spPr/>
      <dgm:t>
        <a:bodyPr/>
        <a:lstStyle/>
        <a:p>
          <a:endParaRPr lang="en-US"/>
        </a:p>
      </dgm:t>
    </dgm:pt>
    <dgm:pt modelId="{29F14A4F-0269-478C-86EB-88D3E577B9F1}">
      <dgm:prSet phldrT="[Text]"/>
      <dgm:spPr/>
      <dgm:t>
        <a:bodyPr/>
        <a:lstStyle/>
        <a:p>
          <a:r>
            <a:rPr lang="en-US" dirty="0" smtClean="0"/>
            <a:t>Today’s Objective </a:t>
          </a:r>
          <a:endParaRPr lang="en-US" dirty="0"/>
        </a:p>
      </dgm:t>
    </dgm:pt>
    <dgm:pt modelId="{0EF0F732-173A-4090-8EE1-746C06EEF479}" type="parTrans" cxnId="{1A50968F-BAA6-4D90-911C-A65500E83853}">
      <dgm:prSet/>
      <dgm:spPr/>
      <dgm:t>
        <a:bodyPr/>
        <a:lstStyle/>
        <a:p>
          <a:endParaRPr lang="en-US"/>
        </a:p>
      </dgm:t>
    </dgm:pt>
    <dgm:pt modelId="{63711084-8A8B-4A0C-BA85-2B2E6FB0DA3B}" type="sibTrans" cxnId="{1A50968F-BAA6-4D90-911C-A65500E83853}">
      <dgm:prSet/>
      <dgm:spPr/>
      <dgm:t>
        <a:bodyPr/>
        <a:lstStyle/>
        <a:p>
          <a:endParaRPr lang="en-US"/>
        </a:p>
      </dgm:t>
    </dgm:pt>
    <dgm:pt modelId="{C4490EC0-B995-49EC-ACAE-DCB33BB325CF}">
      <dgm:prSet phldrT="[Text]" custT="1"/>
      <dgm:spPr/>
      <dgm:t>
        <a:bodyPr/>
        <a:lstStyle/>
        <a:p>
          <a:r>
            <a:rPr lang="en-US" sz="2000" b="1" dirty="0" smtClean="0"/>
            <a:t>Educators will discover how time is used as an opportunity for job-embedded professional learning by exploring school models. </a:t>
          </a:r>
          <a:endParaRPr lang="en-US" sz="2000" b="1" dirty="0"/>
        </a:p>
      </dgm:t>
    </dgm:pt>
    <dgm:pt modelId="{031F4E60-FFF2-40E8-813B-094BD0AA1030}" type="parTrans" cxnId="{DF3D1BCC-A9AF-479B-8B0A-BB2A3B51A393}">
      <dgm:prSet/>
      <dgm:spPr/>
      <dgm:t>
        <a:bodyPr/>
        <a:lstStyle/>
        <a:p>
          <a:endParaRPr lang="en-US"/>
        </a:p>
      </dgm:t>
    </dgm:pt>
    <dgm:pt modelId="{0D2DA8DA-B9E7-4E6F-A2A0-F22C1CB344D3}" type="sibTrans" cxnId="{DF3D1BCC-A9AF-479B-8B0A-BB2A3B51A393}">
      <dgm:prSet/>
      <dgm:spPr/>
      <dgm:t>
        <a:bodyPr/>
        <a:lstStyle/>
        <a:p>
          <a:endParaRPr lang="en-US"/>
        </a:p>
      </dgm:t>
    </dgm:pt>
    <dgm:pt modelId="{17B0E5B5-E0CF-46C9-99E7-13714D37FC27}">
      <dgm:prSet phldrT="[Text]" custT="1"/>
      <dgm:spPr/>
      <dgm:t>
        <a:bodyPr/>
        <a:lstStyle/>
        <a:p>
          <a:r>
            <a:rPr lang="en-US" sz="2000" b="1" dirty="0" smtClean="0"/>
            <a:t>Participants will understand how time is an opportunity to improve student outcomes by improving teacher practice. </a:t>
          </a:r>
          <a:endParaRPr lang="en-US" sz="2000" b="1" dirty="0"/>
        </a:p>
      </dgm:t>
    </dgm:pt>
    <dgm:pt modelId="{CED18BDF-E866-48D5-919B-153F159F2A82}" type="sibTrans" cxnId="{E2770289-E62F-4A49-802E-42AA1123B11C}">
      <dgm:prSet/>
      <dgm:spPr/>
      <dgm:t>
        <a:bodyPr/>
        <a:lstStyle/>
        <a:p>
          <a:endParaRPr lang="en-US"/>
        </a:p>
      </dgm:t>
    </dgm:pt>
    <dgm:pt modelId="{592F936F-5AE0-48E7-8D5F-467E2DB55042}" type="parTrans" cxnId="{E2770289-E62F-4A49-802E-42AA1123B11C}">
      <dgm:prSet/>
      <dgm:spPr/>
      <dgm:t>
        <a:bodyPr/>
        <a:lstStyle/>
        <a:p>
          <a:endParaRPr lang="en-US"/>
        </a:p>
      </dgm:t>
    </dgm:pt>
    <dgm:pt modelId="{200A3319-69A2-4BC0-9758-4D669E47BE75}" type="pres">
      <dgm:prSet presAssocID="{7A7966F8-822D-41E3-B7B9-1DD19EBABD8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88A125-1415-4360-A5E6-BFE1BB478FCC}" type="pres">
      <dgm:prSet presAssocID="{E8F64C38-E178-4A90-BE1E-F8E5945F5970}" presName="linNode" presStyleCnt="0"/>
      <dgm:spPr/>
    </dgm:pt>
    <dgm:pt modelId="{2CAE6E97-02DA-48E2-8CE3-4990010EDA51}" type="pres">
      <dgm:prSet presAssocID="{E8F64C38-E178-4A90-BE1E-F8E5945F5970}" presName="parentText" presStyleLbl="node1" presStyleIdx="0" presStyleCnt="3" custScaleX="544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443E70-E99D-43A2-A042-73CFB527A645}" type="pres">
      <dgm:prSet presAssocID="{E8F64C38-E178-4A90-BE1E-F8E5945F5970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61BD18-DD87-4D4B-BA65-AACB02F68120}" type="pres">
      <dgm:prSet presAssocID="{C13EE644-8CD3-4231-A4D4-C69C91C57386}" presName="sp" presStyleCnt="0"/>
      <dgm:spPr/>
    </dgm:pt>
    <dgm:pt modelId="{C06DEE8E-79C9-49DB-BF18-DEE6500B3005}" type="pres">
      <dgm:prSet presAssocID="{3CB78CAB-CC40-470A-AABB-BFEFFF016C55}" presName="linNode" presStyleCnt="0"/>
      <dgm:spPr/>
    </dgm:pt>
    <dgm:pt modelId="{C55FAC14-47DA-4C38-8BB6-793219F789D5}" type="pres">
      <dgm:prSet presAssocID="{3CB78CAB-CC40-470A-AABB-BFEFFF016C55}" presName="parentText" presStyleLbl="node1" presStyleIdx="1" presStyleCnt="3" custScaleX="5416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26C686-BCD8-4A11-9CAD-19F6E04FECBB}" type="pres">
      <dgm:prSet presAssocID="{3CB78CAB-CC40-470A-AABB-BFEFFF016C55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6F0B3A-FEEF-4DA9-85E4-F408BBF9B6A0}" type="pres">
      <dgm:prSet presAssocID="{2D0B7EC2-DE42-4E95-8F24-CBFF1F2D3F8A}" presName="sp" presStyleCnt="0"/>
      <dgm:spPr/>
    </dgm:pt>
    <dgm:pt modelId="{9AA15307-B20B-4E80-B2A6-B2E5902D5F10}" type="pres">
      <dgm:prSet presAssocID="{29F14A4F-0269-478C-86EB-88D3E577B9F1}" presName="linNode" presStyleCnt="0"/>
      <dgm:spPr/>
    </dgm:pt>
    <dgm:pt modelId="{99C972B1-6FFF-4140-B48B-4602C0BEE743}" type="pres">
      <dgm:prSet presAssocID="{29F14A4F-0269-478C-86EB-88D3E577B9F1}" presName="parentText" presStyleLbl="node1" presStyleIdx="2" presStyleCnt="3" custScaleX="5416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480BA7-7C4C-45B9-B31E-857A2AA317BE}" type="pres">
      <dgm:prSet presAssocID="{29F14A4F-0269-478C-86EB-88D3E577B9F1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112A6F-3FF9-4B94-B68A-869A1A53A862}" type="presOf" srcId="{C4490EC0-B995-49EC-ACAE-DCB33BB325CF}" destId="{93480BA7-7C4C-45B9-B31E-857A2AA317BE}" srcOrd="0" destOrd="0" presId="urn:microsoft.com/office/officeart/2005/8/layout/vList5"/>
    <dgm:cxn modelId="{E2770289-E62F-4A49-802E-42AA1123B11C}" srcId="{3CB78CAB-CC40-470A-AABB-BFEFFF016C55}" destId="{17B0E5B5-E0CF-46C9-99E7-13714D37FC27}" srcOrd="0" destOrd="0" parTransId="{592F936F-5AE0-48E7-8D5F-467E2DB55042}" sibTransId="{CED18BDF-E866-48D5-919B-153F159F2A82}"/>
    <dgm:cxn modelId="{056478E7-EEE8-420B-A466-345F3603B227}" srcId="{7A7966F8-822D-41E3-B7B9-1DD19EBABD83}" destId="{E8F64C38-E178-4A90-BE1E-F8E5945F5970}" srcOrd="0" destOrd="0" parTransId="{58FDCB34-98C5-4009-9693-AE6B0FE2DA1A}" sibTransId="{C13EE644-8CD3-4231-A4D4-C69C91C57386}"/>
    <dgm:cxn modelId="{B995C425-10F5-48D7-AC99-311B0CA438E3}" type="presOf" srcId="{17B0E5B5-E0CF-46C9-99E7-13714D37FC27}" destId="{6226C686-BCD8-4A11-9CAD-19F6E04FECBB}" srcOrd="0" destOrd="0" presId="urn:microsoft.com/office/officeart/2005/8/layout/vList5"/>
    <dgm:cxn modelId="{6FEFEFF9-EF12-4A8B-8756-E03BD15705CB}" type="presOf" srcId="{C85B6833-D6BD-40DC-97A0-18BE4B22BAFB}" destId="{51443E70-E99D-43A2-A042-73CFB527A645}" srcOrd="0" destOrd="0" presId="urn:microsoft.com/office/officeart/2005/8/layout/vList5"/>
    <dgm:cxn modelId="{4B5D2768-E3D1-4234-B739-2996BE7CABBF}" type="presOf" srcId="{7A7966F8-822D-41E3-B7B9-1DD19EBABD83}" destId="{200A3319-69A2-4BC0-9758-4D669E47BE75}" srcOrd="0" destOrd="0" presId="urn:microsoft.com/office/officeart/2005/8/layout/vList5"/>
    <dgm:cxn modelId="{048C894A-6CC1-4BDB-B484-BF4C7467C469}" type="presOf" srcId="{3CB78CAB-CC40-470A-AABB-BFEFFF016C55}" destId="{C55FAC14-47DA-4C38-8BB6-793219F789D5}" srcOrd="0" destOrd="0" presId="urn:microsoft.com/office/officeart/2005/8/layout/vList5"/>
    <dgm:cxn modelId="{DF3D1BCC-A9AF-479B-8B0A-BB2A3B51A393}" srcId="{29F14A4F-0269-478C-86EB-88D3E577B9F1}" destId="{C4490EC0-B995-49EC-ACAE-DCB33BB325CF}" srcOrd="0" destOrd="0" parTransId="{031F4E60-FFF2-40E8-813B-094BD0AA1030}" sibTransId="{0D2DA8DA-B9E7-4E6F-A2A0-F22C1CB344D3}"/>
    <dgm:cxn modelId="{3761AB7E-7B44-457A-90FB-A0F0496F2B9A}" srcId="{E8F64C38-E178-4A90-BE1E-F8E5945F5970}" destId="{C85B6833-D6BD-40DC-97A0-18BE4B22BAFB}" srcOrd="0" destOrd="0" parTransId="{F2378F70-A71F-47EE-AFB3-AF5323F18878}" sibTransId="{A97175EF-0380-4D7A-938F-BBC39BD301F7}"/>
    <dgm:cxn modelId="{08E0CB7C-EB61-4E28-A973-0DEA0ACE0F7F}" type="presOf" srcId="{E8F64C38-E178-4A90-BE1E-F8E5945F5970}" destId="{2CAE6E97-02DA-48E2-8CE3-4990010EDA51}" srcOrd="0" destOrd="0" presId="urn:microsoft.com/office/officeart/2005/8/layout/vList5"/>
    <dgm:cxn modelId="{01627FD3-8FD4-4DD8-9FB7-AD218B685E43}" type="presOf" srcId="{29F14A4F-0269-478C-86EB-88D3E577B9F1}" destId="{99C972B1-6FFF-4140-B48B-4602C0BEE743}" srcOrd="0" destOrd="0" presId="urn:microsoft.com/office/officeart/2005/8/layout/vList5"/>
    <dgm:cxn modelId="{1A50968F-BAA6-4D90-911C-A65500E83853}" srcId="{7A7966F8-822D-41E3-B7B9-1DD19EBABD83}" destId="{29F14A4F-0269-478C-86EB-88D3E577B9F1}" srcOrd="2" destOrd="0" parTransId="{0EF0F732-173A-4090-8EE1-746C06EEF479}" sibTransId="{63711084-8A8B-4A0C-BA85-2B2E6FB0DA3B}"/>
    <dgm:cxn modelId="{39B51E06-9E4B-4A58-8BBD-15CC5D258E47}" srcId="{7A7966F8-822D-41E3-B7B9-1DD19EBABD83}" destId="{3CB78CAB-CC40-470A-AABB-BFEFFF016C55}" srcOrd="1" destOrd="0" parTransId="{333A6423-FA2C-4FB4-BE11-D253D0CA97C1}" sibTransId="{2D0B7EC2-DE42-4E95-8F24-CBFF1F2D3F8A}"/>
    <dgm:cxn modelId="{750F76AD-20F4-499F-8710-386EE89DB4BC}" type="presParOf" srcId="{200A3319-69A2-4BC0-9758-4D669E47BE75}" destId="{D188A125-1415-4360-A5E6-BFE1BB478FCC}" srcOrd="0" destOrd="0" presId="urn:microsoft.com/office/officeart/2005/8/layout/vList5"/>
    <dgm:cxn modelId="{0A74D53C-8E33-4D80-929A-A917DC652EAF}" type="presParOf" srcId="{D188A125-1415-4360-A5E6-BFE1BB478FCC}" destId="{2CAE6E97-02DA-48E2-8CE3-4990010EDA51}" srcOrd="0" destOrd="0" presId="urn:microsoft.com/office/officeart/2005/8/layout/vList5"/>
    <dgm:cxn modelId="{E471E86B-9BF4-41C8-B94F-03E0723788B5}" type="presParOf" srcId="{D188A125-1415-4360-A5E6-BFE1BB478FCC}" destId="{51443E70-E99D-43A2-A042-73CFB527A645}" srcOrd="1" destOrd="0" presId="urn:microsoft.com/office/officeart/2005/8/layout/vList5"/>
    <dgm:cxn modelId="{45206440-73E8-4B61-88DE-972B6573CBA0}" type="presParOf" srcId="{200A3319-69A2-4BC0-9758-4D669E47BE75}" destId="{D661BD18-DD87-4D4B-BA65-AACB02F68120}" srcOrd="1" destOrd="0" presId="urn:microsoft.com/office/officeart/2005/8/layout/vList5"/>
    <dgm:cxn modelId="{2948FD98-EBF3-4420-BA1A-16153AC04E42}" type="presParOf" srcId="{200A3319-69A2-4BC0-9758-4D669E47BE75}" destId="{C06DEE8E-79C9-49DB-BF18-DEE6500B3005}" srcOrd="2" destOrd="0" presId="urn:microsoft.com/office/officeart/2005/8/layout/vList5"/>
    <dgm:cxn modelId="{C9674C48-BAAD-4227-AEC2-362E4AF03301}" type="presParOf" srcId="{C06DEE8E-79C9-49DB-BF18-DEE6500B3005}" destId="{C55FAC14-47DA-4C38-8BB6-793219F789D5}" srcOrd="0" destOrd="0" presId="urn:microsoft.com/office/officeart/2005/8/layout/vList5"/>
    <dgm:cxn modelId="{24460233-2865-4491-BEC1-4FA9EBE8D56D}" type="presParOf" srcId="{C06DEE8E-79C9-49DB-BF18-DEE6500B3005}" destId="{6226C686-BCD8-4A11-9CAD-19F6E04FECBB}" srcOrd="1" destOrd="0" presId="urn:microsoft.com/office/officeart/2005/8/layout/vList5"/>
    <dgm:cxn modelId="{A01F427F-CE55-43E0-95D7-26227FE65BC3}" type="presParOf" srcId="{200A3319-69A2-4BC0-9758-4D669E47BE75}" destId="{566F0B3A-FEEF-4DA9-85E4-F408BBF9B6A0}" srcOrd="3" destOrd="0" presId="urn:microsoft.com/office/officeart/2005/8/layout/vList5"/>
    <dgm:cxn modelId="{DB0B3682-604A-4EC6-80D3-7C212E7E22AC}" type="presParOf" srcId="{200A3319-69A2-4BC0-9758-4D669E47BE75}" destId="{9AA15307-B20B-4E80-B2A6-B2E5902D5F10}" srcOrd="4" destOrd="0" presId="urn:microsoft.com/office/officeart/2005/8/layout/vList5"/>
    <dgm:cxn modelId="{A08599D2-916B-4DF1-A539-5D0871A15A85}" type="presParOf" srcId="{9AA15307-B20B-4E80-B2A6-B2E5902D5F10}" destId="{99C972B1-6FFF-4140-B48B-4602C0BEE743}" srcOrd="0" destOrd="0" presId="urn:microsoft.com/office/officeart/2005/8/layout/vList5"/>
    <dgm:cxn modelId="{3CC566DA-E236-4E07-93C9-139A470275CB}" type="presParOf" srcId="{9AA15307-B20B-4E80-B2A6-B2E5902D5F10}" destId="{93480BA7-7C4C-45B9-B31E-857A2AA317B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2D68CB8-8A68-4DC0-A3F2-C6ADD80D13FA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BB2782B-ED33-4A1F-9933-FD63A4467899}">
      <dgm:prSet phldrT="[Text]" custT="1"/>
      <dgm:spPr/>
      <dgm:t>
        <a:bodyPr/>
        <a:lstStyle/>
        <a:p>
          <a:r>
            <a:rPr lang="en-US" sz="1600" dirty="0" smtClean="0"/>
            <a:t>Ensure all teachers have ample time within the school day for collaboration (without sacrificing quality student learning) focused on core instructional work</a:t>
          </a:r>
          <a:endParaRPr lang="en-US" sz="1600" dirty="0"/>
        </a:p>
      </dgm:t>
    </dgm:pt>
    <dgm:pt modelId="{7E50691B-3393-4242-BFD5-50F0ACFC83F1}" type="parTrans" cxnId="{0CB4E315-D770-4E2E-95CD-B4EE6EA8D9AA}">
      <dgm:prSet/>
      <dgm:spPr/>
      <dgm:t>
        <a:bodyPr/>
        <a:lstStyle/>
        <a:p>
          <a:endParaRPr lang="en-US"/>
        </a:p>
      </dgm:t>
    </dgm:pt>
    <dgm:pt modelId="{82CC0A51-F93C-492D-90D4-2FDD1882B7F5}" type="sibTrans" cxnId="{0CB4E315-D770-4E2E-95CD-B4EE6EA8D9AA}">
      <dgm:prSet/>
      <dgm:spPr/>
      <dgm:t>
        <a:bodyPr/>
        <a:lstStyle/>
        <a:p>
          <a:endParaRPr lang="en-US"/>
        </a:p>
      </dgm:t>
    </dgm:pt>
    <dgm:pt modelId="{B8F23E72-47D4-4514-812A-CB5D36425021}">
      <dgm:prSet phldrT="[Text]" custT="1"/>
      <dgm:spPr/>
      <dgm:t>
        <a:bodyPr/>
        <a:lstStyle/>
        <a:p>
          <a:r>
            <a:rPr lang="en-US" sz="1600" dirty="0" smtClean="0"/>
            <a:t>Provide multi-modal access to high quality Professional Development content based on teachers’ needs and student results</a:t>
          </a:r>
          <a:endParaRPr lang="en-US" sz="1600" dirty="0"/>
        </a:p>
      </dgm:t>
    </dgm:pt>
    <dgm:pt modelId="{03358173-D5FB-433F-BA6C-069A209D305E}" type="parTrans" cxnId="{F9EA800C-17A9-4357-9826-3B7B7AFF2A6D}">
      <dgm:prSet/>
      <dgm:spPr/>
      <dgm:t>
        <a:bodyPr/>
        <a:lstStyle/>
        <a:p>
          <a:endParaRPr lang="en-US"/>
        </a:p>
      </dgm:t>
    </dgm:pt>
    <dgm:pt modelId="{BA990099-BE0A-4A46-9DD2-A3E37F415F55}" type="sibTrans" cxnId="{F9EA800C-17A9-4357-9826-3B7B7AFF2A6D}">
      <dgm:prSet/>
      <dgm:spPr/>
      <dgm:t>
        <a:bodyPr/>
        <a:lstStyle/>
        <a:p>
          <a:endParaRPr lang="en-US"/>
        </a:p>
      </dgm:t>
    </dgm:pt>
    <dgm:pt modelId="{4F18B7BA-B5B5-4379-A78D-2C646F785926}">
      <dgm:prSet phldrT="[Text]" custT="1"/>
      <dgm:spPr/>
      <dgm:t>
        <a:bodyPr/>
        <a:lstStyle/>
        <a:p>
          <a:r>
            <a:rPr lang="en-US" sz="1600" dirty="0" smtClean="0"/>
            <a:t>All teachers have frequent opportunities and multiple sources of feedback on their instructional practice</a:t>
          </a:r>
          <a:endParaRPr lang="en-US" sz="1600" dirty="0"/>
        </a:p>
      </dgm:t>
    </dgm:pt>
    <dgm:pt modelId="{FD417C75-6D2B-4E77-AFB0-BBC16271EE29}" type="parTrans" cxnId="{8B8829C7-1862-4B6A-94B8-2A3A600C4869}">
      <dgm:prSet/>
      <dgm:spPr/>
      <dgm:t>
        <a:bodyPr/>
        <a:lstStyle/>
        <a:p>
          <a:endParaRPr lang="en-US"/>
        </a:p>
      </dgm:t>
    </dgm:pt>
    <dgm:pt modelId="{085734F3-F107-4054-B9E9-447A704B2FC6}" type="sibTrans" cxnId="{8B8829C7-1862-4B6A-94B8-2A3A600C4869}">
      <dgm:prSet/>
      <dgm:spPr/>
      <dgm:t>
        <a:bodyPr/>
        <a:lstStyle/>
        <a:p>
          <a:endParaRPr lang="en-US"/>
        </a:p>
      </dgm:t>
    </dgm:pt>
    <dgm:pt modelId="{12D7EF1B-A2EB-4885-AB5A-4698F1C213DF}">
      <dgm:prSet custT="1"/>
      <dgm:spPr/>
      <dgm:t>
        <a:bodyPr/>
        <a:lstStyle/>
        <a:p>
          <a:r>
            <a:rPr lang="en-US" sz="1600" dirty="0" smtClean="0"/>
            <a:t>Assess the impact of Professional Development content and experiences </a:t>
          </a:r>
          <a:endParaRPr lang="en-US" sz="1600" dirty="0"/>
        </a:p>
      </dgm:t>
    </dgm:pt>
    <dgm:pt modelId="{ABE419A2-E178-4460-93CF-27459515F72B}" type="parTrans" cxnId="{6A2B68A5-DA04-46F3-93FC-F9CAFCD35BBA}">
      <dgm:prSet/>
      <dgm:spPr/>
      <dgm:t>
        <a:bodyPr/>
        <a:lstStyle/>
        <a:p>
          <a:endParaRPr lang="en-US"/>
        </a:p>
      </dgm:t>
    </dgm:pt>
    <dgm:pt modelId="{8248483E-CB95-4F7C-BBF2-F92154478F35}" type="sibTrans" cxnId="{6A2B68A5-DA04-46F3-93FC-F9CAFCD35BBA}">
      <dgm:prSet/>
      <dgm:spPr/>
      <dgm:t>
        <a:bodyPr/>
        <a:lstStyle/>
        <a:p>
          <a:endParaRPr lang="en-US"/>
        </a:p>
      </dgm:t>
    </dgm:pt>
    <dgm:pt modelId="{7E01927D-1B2E-4F98-B07E-EEF85E0001A8}" type="pres">
      <dgm:prSet presAssocID="{82D68CB8-8A68-4DC0-A3F2-C6ADD80D13F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FD881D8-0B76-4EE5-B1B4-BF8440F392D9}" type="pres">
      <dgm:prSet presAssocID="{9BB2782B-ED33-4A1F-9933-FD63A4467899}" presName="linNode" presStyleCnt="0"/>
      <dgm:spPr/>
      <dgm:t>
        <a:bodyPr/>
        <a:lstStyle/>
        <a:p>
          <a:endParaRPr lang="en-US"/>
        </a:p>
      </dgm:t>
    </dgm:pt>
    <dgm:pt modelId="{93F686AD-C8BD-4EE7-ABDA-752947B7975A}" type="pres">
      <dgm:prSet presAssocID="{9BB2782B-ED33-4A1F-9933-FD63A4467899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FA22BF-B139-49F5-A15F-FCA93A096CAA}" type="pres">
      <dgm:prSet presAssocID="{82CC0A51-F93C-492D-90D4-2FDD1882B7F5}" presName="sp" presStyleCnt="0"/>
      <dgm:spPr/>
      <dgm:t>
        <a:bodyPr/>
        <a:lstStyle/>
        <a:p>
          <a:endParaRPr lang="en-US"/>
        </a:p>
      </dgm:t>
    </dgm:pt>
    <dgm:pt modelId="{E98F5860-7539-41B6-8740-66599D251065}" type="pres">
      <dgm:prSet presAssocID="{B8F23E72-47D4-4514-812A-CB5D36425021}" presName="linNode" presStyleCnt="0"/>
      <dgm:spPr/>
      <dgm:t>
        <a:bodyPr/>
        <a:lstStyle/>
        <a:p>
          <a:endParaRPr lang="en-US"/>
        </a:p>
      </dgm:t>
    </dgm:pt>
    <dgm:pt modelId="{19D1D196-064C-4BD2-98F4-56E32A19A61B}" type="pres">
      <dgm:prSet presAssocID="{B8F23E72-47D4-4514-812A-CB5D36425021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E56A6F-E1EB-48B2-82C4-56802CC631E3}" type="pres">
      <dgm:prSet presAssocID="{BA990099-BE0A-4A46-9DD2-A3E37F415F55}" presName="sp" presStyleCnt="0"/>
      <dgm:spPr/>
      <dgm:t>
        <a:bodyPr/>
        <a:lstStyle/>
        <a:p>
          <a:endParaRPr lang="en-US"/>
        </a:p>
      </dgm:t>
    </dgm:pt>
    <dgm:pt modelId="{5754D72A-DCE2-4238-8DE4-6673590A4A56}" type="pres">
      <dgm:prSet presAssocID="{4F18B7BA-B5B5-4379-A78D-2C646F785926}" presName="linNode" presStyleCnt="0"/>
      <dgm:spPr/>
      <dgm:t>
        <a:bodyPr/>
        <a:lstStyle/>
        <a:p>
          <a:endParaRPr lang="en-US"/>
        </a:p>
      </dgm:t>
    </dgm:pt>
    <dgm:pt modelId="{75E0886A-9FD4-4F82-BAF9-A8EE81C620C6}" type="pres">
      <dgm:prSet presAssocID="{4F18B7BA-B5B5-4379-A78D-2C646F785926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1A2511-B72A-4D6F-A5FB-693FF672A83D}" type="pres">
      <dgm:prSet presAssocID="{085734F3-F107-4054-B9E9-447A704B2FC6}" presName="sp" presStyleCnt="0"/>
      <dgm:spPr/>
      <dgm:t>
        <a:bodyPr/>
        <a:lstStyle/>
        <a:p>
          <a:endParaRPr lang="en-US"/>
        </a:p>
      </dgm:t>
    </dgm:pt>
    <dgm:pt modelId="{772AE480-5600-4219-BC4F-00D7D396740C}" type="pres">
      <dgm:prSet presAssocID="{12D7EF1B-A2EB-4885-AB5A-4698F1C213DF}" presName="linNode" presStyleCnt="0"/>
      <dgm:spPr/>
      <dgm:t>
        <a:bodyPr/>
        <a:lstStyle/>
        <a:p>
          <a:endParaRPr lang="en-US"/>
        </a:p>
      </dgm:t>
    </dgm:pt>
    <dgm:pt modelId="{13F5041E-F6C9-49C3-B027-151A047AF4EC}" type="pres">
      <dgm:prSet presAssocID="{12D7EF1B-A2EB-4885-AB5A-4698F1C213DF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A51ABBE-E35B-4FFF-AA0E-961B81A50547}" type="presOf" srcId="{4F18B7BA-B5B5-4379-A78D-2C646F785926}" destId="{75E0886A-9FD4-4F82-BAF9-A8EE81C620C6}" srcOrd="0" destOrd="0" presId="urn:microsoft.com/office/officeart/2005/8/layout/vList5"/>
    <dgm:cxn modelId="{6A2B68A5-DA04-46F3-93FC-F9CAFCD35BBA}" srcId="{82D68CB8-8A68-4DC0-A3F2-C6ADD80D13FA}" destId="{12D7EF1B-A2EB-4885-AB5A-4698F1C213DF}" srcOrd="3" destOrd="0" parTransId="{ABE419A2-E178-4460-93CF-27459515F72B}" sibTransId="{8248483E-CB95-4F7C-BBF2-F92154478F35}"/>
    <dgm:cxn modelId="{0CB4E315-D770-4E2E-95CD-B4EE6EA8D9AA}" srcId="{82D68CB8-8A68-4DC0-A3F2-C6ADD80D13FA}" destId="{9BB2782B-ED33-4A1F-9933-FD63A4467899}" srcOrd="0" destOrd="0" parTransId="{7E50691B-3393-4242-BFD5-50F0ACFC83F1}" sibTransId="{82CC0A51-F93C-492D-90D4-2FDD1882B7F5}"/>
    <dgm:cxn modelId="{1A5C3A3E-9041-42A6-A882-2D256974590B}" type="presOf" srcId="{B8F23E72-47D4-4514-812A-CB5D36425021}" destId="{19D1D196-064C-4BD2-98F4-56E32A19A61B}" srcOrd="0" destOrd="0" presId="urn:microsoft.com/office/officeart/2005/8/layout/vList5"/>
    <dgm:cxn modelId="{8B8829C7-1862-4B6A-94B8-2A3A600C4869}" srcId="{82D68CB8-8A68-4DC0-A3F2-C6ADD80D13FA}" destId="{4F18B7BA-B5B5-4379-A78D-2C646F785926}" srcOrd="2" destOrd="0" parTransId="{FD417C75-6D2B-4E77-AFB0-BBC16271EE29}" sibTransId="{085734F3-F107-4054-B9E9-447A704B2FC6}"/>
    <dgm:cxn modelId="{8BB8A179-75EB-4DF1-A618-39D4C3FB9922}" type="presOf" srcId="{9BB2782B-ED33-4A1F-9933-FD63A4467899}" destId="{93F686AD-C8BD-4EE7-ABDA-752947B7975A}" srcOrd="0" destOrd="0" presId="urn:microsoft.com/office/officeart/2005/8/layout/vList5"/>
    <dgm:cxn modelId="{2565F772-6232-4C03-82AF-F93CD4CDFCE5}" type="presOf" srcId="{12D7EF1B-A2EB-4885-AB5A-4698F1C213DF}" destId="{13F5041E-F6C9-49C3-B027-151A047AF4EC}" srcOrd="0" destOrd="0" presId="urn:microsoft.com/office/officeart/2005/8/layout/vList5"/>
    <dgm:cxn modelId="{F9EA800C-17A9-4357-9826-3B7B7AFF2A6D}" srcId="{82D68CB8-8A68-4DC0-A3F2-C6ADD80D13FA}" destId="{B8F23E72-47D4-4514-812A-CB5D36425021}" srcOrd="1" destOrd="0" parTransId="{03358173-D5FB-433F-BA6C-069A209D305E}" sibTransId="{BA990099-BE0A-4A46-9DD2-A3E37F415F55}"/>
    <dgm:cxn modelId="{EADED5CC-8642-42DE-AA15-10C6FF1B2D96}" type="presOf" srcId="{82D68CB8-8A68-4DC0-A3F2-C6ADD80D13FA}" destId="{7E01927D-1B2E-4F98-B07E-EEF85E0001A8}" srcOrd="0" destOrd="0" presId="urn:microsoft.com/office/officeart/2005/8/layout/vList5"/>
    <dgm:cxn modelId="{D1A74743-F847-40C3-8658-CEDBE0E11247}" type="presParOf" srcId="{7E01927D-1B2E-4F98-B07E-EEF85E0001A8}" destId="{BFD881D8-0B76-4EE5-B1B4-BF8440F392D9}" srcOrd="0" destOrd="0" presId="urn:microsoft.com/office/officeart/2005/8/layout/vList5"/>
    <dgm:cxn modelId="{C2B8F233-4939-4801-B1C4-6C92BD1C0709}" type="presParOf" srcId="{BFD881D8-0B76-4EE5-B1B4-BF8440F392D9}" destId="{93F686AD-C8BD-4EE7-ABDA-752947B7975A}" srcOrd="0" destOrd="0" presId="urn:microsoft.com/office/officeart/2005/8/layout/vList5"/>
    <dgm:cxn modelId="{C218496F-7849-4FF2-BD8F-4F4CFFBEDCB3}" type="presParOf" srcId="{7E01927D-1B2E-4F98-B07E-EEF85E0001A8}" destId="{97FA22BF-B139-49F5-A15F-FCA93A096CAA}" srcOrd="1" destOrd="0" presId="urn:microsoft.com/office/officeart/2005/8/layout/vList5"/>
    <dgm:cxn modelId="{0E87A723-B4A1-4575-86E4-1B6A3F79021A}" type="presParOf" srcId="{7E01927D-1B2E-4F98-B07E-EEF85E0001A8}" destId="{E98F5860-7539-41B6-8740-66599D251065}" srcOrd="2" destOrd="0" presId="urn:microsoft.com/office/officeart/2005/8/layout/vList5"/>
    <dgm:cxn modelId="{417EB8C7-1193-4D29-BBAB-323A7DE03EF8}" type="presParOf" srcId="{E98F5860-7539-41B6-8740-66599D251065}" destId="{19D1D196-064C-4BD2-98F4-56E32A19A61B}" srcOrd="0" destOrd="0" presId="urn:microsoft.com/office/officeart/2005/8/layout/vList5"/>
    <dgm:cxn modelId="{A3EF4413-B101-4578-BF55-356BCE78CD38}" type="presParOf" srcId="{7E01927D-1B2E-4F98-B07E-EEF85E0001A8}" destId="{C6E56A6F-E1EB-48B2-82C4-56802CC631E3}" srcOrd="3" destOrd="0" presId="urn:microsoft.com/office/officeart/2005/8/layout/vList5"/>
    <dgm:cxn modelId="{170CA4F6-9404-4238-9314-68ADBA669EA4}" type="presParOf" srcId="{7E01927D-1B2E-4F98-B07E-EEF85E0001A8}" destId="{5754D72A-DCE2-4238-8DE4-6673590A4A56}" srcOrd="4" destOrd="0" presId="urn:microsoft.com/office/officeart/2005/8/layout/vList5"/>
    <dgm:cxn modelId="{61448429-804F-4716-9FD2-971E500E57D5}" type="presParOf" srcId="{5754D72A-DCE2-4238-8DE4-6673590A4A56}" destId="{75E0886A-9FD4-4F82-BAF9-A8EE81C620C6}" srcOrd="0" destOrd="0" presId="urn:microsoft.com/office/officeart/2005/8/layout/vList5"/>
    <dgm:cxn modelId="{A2483443-AE46-46F4-9449-BC0A4EC520C7}" type="presParOf" srcId="{7E01927D-1B2E-4F98-B07E-EEF85E0001A8}" destId="{8C1A2511-B72A-4D6F-A5FB-693FF672A83D}" srcOrd="5" destOrd="0" presId="urn:microsoft.com/office/officeart/2005/8/layout/vList5"/>
    <dgm:cxn modelId="{0B6D5844-482D-4691-AC73-331A0F6692B3}" type="presParOf" srcId="{7E01927D-1B2E-4F98-B07E-EEF85E0001A8}" destId="{772AE480-5600-4219-BC4F-00D7D396740C}" srcOrd="6" destOrd="0" presId="urn:microsoft.com/office/officeart/2005/8/layout/vList5"/>
    <dgm:cxn modelId="{FB98C898-31A6-4D6A-87E5-79EAE723AAFE}" type="presParOf" srcId="{772AE480-5600-4219-BC4F-00D7D396740C}" destId="{13F5041E-F6C9-49C3-B027-151A047AF4E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D6F1C4-555E-4651-B327-591730DAFC49}" type="doc">
      <dgm:prSet loTypeId="urn:microsoft.com/office/officeart/2005/8/layout/process4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95499119-95FE-4E81-BAD6-0D9CFFBEDC5F}">
      <dgm:prSet phldrT="[Text]"/>
      <dgm:spPr/>
      <dgm:t>
        <a:bodyPr/>
        <a:lstStyle/>
        <a:p>
          <a:r>
            <a:rPr lang="en-US" dirty="0" smtClean="0"/>
            <a:t>Florida’s Class Size Amendment </a:t>
          </a:r>
          <a:endParaRPr lang="en-US" dirty="0"/>
        </a:p>
      </dgm:t>
    </dgm:pt>
    <dgm:pt modelId="{147767AC-50E3-4105-9880-536FFF99F0DA}" type="parTrans" cxnId="{8E3337D1-A98A-4E9B-95BA-28FAE1FB8619}">
      <dgm:prSet/>
      <dgm:spPr/>
      <dgm:t>
        <a:bodyPr/>
        <a:lstStyle/>
        <a:p>
          <a:endParaRPr lang="en-US"/>
        </a:p>
      </dgm:t>
    </dgm:pt>
    <dgm:pt modelId="{7D5FA183-111F-4E4D-8C93-F03C0BC3933E}" type="sibTrans" cxnId="{8E3337D1-A98A-4E9B-95BA-28FAE1FB8619}">
      <dgm:prSet/>
      <dgm:spPr/>
      <dgm:t>
        <a:bodyPr/>
        <a:lstStyle/>
        <a:p>
          <a:endParaRPr lang="en-US"/>
        </a:p>
      </dgm:t>
    </dgm:pt>
    <dgm:pt modelId="{66DB2488-52F7-4A8F-AFB2-19342DB8C3EA}">
      <dgm:prSet phldrT="[Text]"/>
      <dgm:spPr/>
      <dgm:t>
        <a:bodyPr/>
        <a:lstStyle/>
        <a:p>
          <a:r>
            <a:rPr lang="en-US" dirty="0" smtClean="0"/>
            <a:t>22/25 students in core classes grades 7-12 </a:t>
          </a:r>
          <a:endParaRPr lang="en-US" dirty="0"/>
        </a:p>
      </dgm:t>
    </dgm:pt>
    <dgm:pt modelId="{1416D88B-9B5B-42E3-963F-CB8E01A60A44}" type="parTrans" cxnId="{1E046F40-63A2-49EE-A577-3C340A196116}">
      <dgm:prSet/>
      <dgm:spPr/>
      <dgm:t>
        <a:bodyPr/>
        <a:lstStyle/>
        <a:p>
          <a:endParaRPr lang="en-US"/>
        </a:p>
      </dgm:t>
    </dgm:pt>
    <dgm:pt modelId="{41A8A9E9-2746-4CEE-AB52-C66BA5A19BA6}" type="sibTrans" cxnId="{1E046F40-63A2-49EE-A577-3C340A196116}">
      <dgm:prSet/>
      <dgm:spPr/>
      <dgm:t>
        <a:bodyPr/>
        <a:lstStyle/>
        <a:p>
          <a:endParaRPr lang="en-US"/>
        </a:p>
      </dgm:t>
    </dgm:pt>
    <dgm:pt modelId="{53526255-3CB6-411F-89D6-73B31523C2BD}">
      <dgm:prSet phldrT="[Text]"/>
      <dgm:spPr/>
      <dgm:t>
        <a:bodyPr/>
        <a:lstStyle/>
        <a:p>
          <a:r>
            <a:rPr lang="en-US" dirty="0" smtClean="0"/>
            <a:t>Precludes powerful master schedules that optimizes learning for students and teachers </a:t>
          </a:r>
          <a:endParaRPr lang="en-US" dirty="0"/>
        </a:p>
      </dgm:t>
    </dgm:pt>
    <dgm:pt modelId="{371396C7-FA27-4C10-B40B-B3D31ED45F03}" type="parTrans" cxnId="{B6CFC428-3C8E-47EE-ACE3-1E1148CB669C}">
      <dgm:prSet/>
      <dgm:spPr/>
      <dgm:t>
        <a:bodyPr/>
        <a:lstStyle/>
        <a:p>
          <a:endParaRPr lang="en-US"/>
        </a:p>
      </dgm:t>
    </dgm:pt>
    <dgm:pt modelId="{540E3480-A02A-404E-998E-CC319E998997}" type="sibTrans" cxnId="{B6CFC428-3C8E-47EE-ACE3-1E1148CB669C}">
      <dgm:prSet/>
      <dgm:spPr/>
      <dgm:t>
        <a:bodyPr/>
        <a:lstStyle/>
        <a:p>
          <a:endParaRPr lang="en-US"/>
        </a:p>
      </dgm:t>
    </dgm:pt>
    <dgm:pt modelId="{7CB77FFE-50C7-4009-8B33-F87972D20D28}">
      <dgm:prSet phldrT="[Text]"/>
      <dgm:spPr/>
      <dgm:t>
        <a:bodyPr/>
        <a:lstStyle/>
        <a:p>
          <a:r>
            <a:rPr lang="en-US" dirty="0" smtClean="0"/>
            <a:t>School by Design </a:t>
          </a:r>
          <a:endParaRPr lang="en-US" dirty="0"/>
        </a:p>
      </dgm:t>
    </dgm:pt>
    <dgm:pt modelId="{DEBD9198-13BB-4B23-ACB3-FA04652F67AF}" type="parTrans" cxnId="{10CA6E0C-2876-47B3-B084-A6E2DAE3E257}">
      <dgm:prSet/>
      <dgm:spPr/>
      <dgm:t>
        <a:bodyPr/>
        <a:lstStyle/>
        <a:p>
          <a:endParaRPr lang="en-US"/>
        </a:p>
      </dgm:t>
    </dgm:pt>
    <dgm:pt modelId="{3AC07612-966B-42D5-BD5F-E3E08BFD0EA5}" type="sibTrans" cxnId="{10CA6E0C-2876-47B3-B084-A6E2DAE3E257}">
      <dgm:prSet/>
      <dgm:spPr/>
      <dgm:t>
        <a:bodyPr/>
        <a:lstStyle/>
        <a:p>
          <a:endParaRPr lang="en-US"/>
        </a:p>
      </dgm:t>
    </dgm:pt>
    <dgm:pt modelId="{AC76B71E-898E-4727-8F30-2B43E80471C6}">
      <dgm:prSet phldrT="[Text]"/>
      <dgm:spPr/>
      <dgm:t>
        <a:bodyPr/>
        <a:lstStyle/>
        <a:p>
          <a:r>
            <a:rPr lang="en-US" dirty="0" smtClean="0"/>
            <a:t>Recognized the need for improved conditions for teaching and learning </a:t>
          </a:r>
          <a:endParaRPr lang="en-US" dirty="0"/>
        </a:p>
      </dgm:t>
    </dgm:pt>
    <dgm:pt modelId="{2E7A4793-5059-4737-A7CA-9B745B2FED1D}" type="parTrans" cxnId="{B1CAD86C-A428-42F9-9C2C-EBC62C6A9A9D}">
      <dgm:prSet/>
      <dgm:spPr/>
      <dgm:t>
        <a:bodyPr/>
        <a:lstStyle/>
        <a:p>
          <a:endParaRPr lang="en-US"/>
        </a:p>
      </dgm:t>
    </dgm:pt>
    <dgm:pt modelId="{528E6136-A98E-4802-ABEB-015B54A76A8B}" type="sibTrans" cxnId="{B1CAD86C-A428-42F9-9C2C-EBC62C6A9A9D}">
      <dgm:prSet/>
      <dgm:spPr/>
      <dgm:t>
        <a:bodyPr/>
        <a:lstStyle/>
        <a:p>
          <a:endParaRPr lang="en-US"/>
        </a:p>
      </dgm:t>
    </dgm:pt>
    <dgm:pt modelId="{6BF3B008-5CF9-4477-A068-4755BA87D253}">
      <dgm:prSet phldrT="[Text]"/>
      <dgm:spPr/>
      <dgm:t>
        <a:bodyPr/>
        <a:lstStyle/>
        <a:p>
          <a:r>
            <a:rPr lang="en-US" dirty="0" smtClean="0"/>
            <a:t>Allocations posed challenge for collaborative time for teachers </a:t>
          </a:r>
          <a:endParaRPr lang="en-US" dirty="0"/>
        </a:p>
      </dgm:t>
    </dgm:pt>
    <dgm:pt modelId="{366E76B1-CE0E-4D88-9C3C-823A8E9101B2}" type="parTrans" cxnId="{0E2CFE2C-CDAA-46D4-9F51-80125FE4B753}">
      <dgm:prSet/>
      <dgm:spPr/>
      <dgm:t>
        <a:bodyPr/>
        <a:lstStyle/>
        <a:p>
          <a:endParaRPr lang="en-US"/>
        </a:p>
      </dgm:t>
    </dgm:pt>
    <dgm:pt modelId="{2A1B5D2F-2803-4522-8D23-E95FB3CED28F}" type="sibTrans" cxnId="{0E2CFE2C-CDAA-46D4-9F51-80125FE4B753}">
      <dgm:prSet/>
      <dgm:spPr/>
      <dgm:t>
        <a:bodyPr/>
        <a:lstStyle/>
        <a:p>
          <a:endParaRPr lang="en-US"/>
        </a:p>
      </dgm:t>
    </dgm:pt>
    <dgm:pt modelId="{EE5185E6-DE22-485A-AD87-760ACA358FA9}">
      <dgm:prSet phldrT="[Text]"/>
      <dgm:spPr/>
      <dgm:t>
        <a:bodyPr/>
        <a:lstStyle/>
        <a:p>
          <a:r>
            <a:rPr lang="en-US" dirty="0" smtClean="0"/>
            <a:t>Florida Statute on Blended Learning </a:t>
          </a:r>
          <a:endParaRPr lang="en-US" dirty="0"/>
        </a:p>
      </dgm:t>
    </dgm:pt>
    <dgm:pt modelId="{D48CDAAE-D2BD-43CA-9906-681B0E8B2610}" type="parTrans" cxnId="{8CD39A2A-28C2-42BB-A0AE-FC6196151BE5}">
      <dgm:prSet/>
      <dgm:spPr/>
      <dgm:t>
        <a:bodyPr/>
        <a:lstStyle/>
        <a:p>
          <a:endParaRPr lang="en-US"/>
        </a:p>
      </dgm:t>
    </dgm:pt>
    <dgm:pt modelId="{59DE3D20-AA39-4F10-92A9-9904AA9FDE32}" type="sibTrans" cxnId="{8CD39A2A-28C2-42BB-A0AE-FC6196151BE5}">
      <dgm:prSet/>
      <dgm:spPr/>
      <dgm:t>
        <a:bodyPr/>
        <a:lstStyle/>
        <a:p>
          <a:endParaRPr lang="en-US"/>
        </a:p>
      </dgm:t>
    </dgm:pt>
    <dgm:pt modelId="{C56D8FA0-D031-447F-BC89-7149EB6C6D83}">
      <dgm:prSet phldrT="[Text]"/>
      <dgm:spPr/>
      <dgm:t>
        <a:bodyPr/>
        <a:lstStyle/>
        <a:p>
          <a:r>
            <a:rPr lang="en-US" dirty="0" smtClean="0"/>
            <a:t>Schools using blended learning are not held to the class size cap</a:t>
          </a:r>
          <a:endParaRPr lang="en-US" dirty="0"/>
        </a:p>
      </dgm:t>
    </dgm:pt>
    <dgm:pt modelId="{711FD02B-6E88-4BC3-9D2D-1EE58E674AD7}" type="parTrans" cxnId="{EB8C7803-44DE-4FA5-B6CD-E3E2673A350E}">
      <dgm:prSet/>
      <dgm:spPr/>
      <dgm:t>
        <a:bodyPr/>
        <a:lstStyle/>
        <a:p>
          <a:endParaRPr lang="en-US"/>
        </a:p>
      </dgm:t>
    </dgm:pt>
    <dgm:pt modelId="{0EAB4AEE-1610-412C-8BA6-AA8A1BB1B833}" type="sibTrans" cxnId="{EB8C7803-44DE-4FA5-B6CD-E3E2673A350E}">
      <dgm:prSet/>
      <dgm:spPr/>
      <dgm:t>
        <a:bodyPr/>
        <a:lstStyle/>
        <a:p>
          <a:endParaRPr lang="en-US"/>
        </a:p>
      </dgm:t>
    </dgm:pt>
    <dgm:pt modelId="{515F4125-3E30-444F-8506-6B3962B23395}">
      <dgm:prSet phldrT="[Text]"/>
      <dgm:spPr/>
      <dgm:t>
        <a:bodyPr/>
        <a:lstStyle/>
        <a:p>
          <a:r>
            <a:rPr lang="en-US" dirty="0" smtClean="0"/>
            <a:t>Supports Personalized Learning for Students </a:t>
          </a:r>
          <a:endParaRPr lang="en-US" dirty="0"/>
        </a:p>
      </dgm:t>
    </dgm:pt>
    <dgm:pt modelId="{FBA7ECEE-DFF7-4208-88BB-705F1248AF8E}" type="parTrans" cxnId="{2BE7B96C-66BB-4955-A164-6042F81DA46F}">
      <dgm:prSet/>
      <dgm:spPr/>
      <dgm:t>
        <a:bodyPr/>
        <a:lstStyle/>
        <a:p>
          <a:endParaRPr lang="en-US"/>
        </a:p>
      </dgm:t>
    </dgm:pt>
    <dgm:pt modelId="{4774A542-66F6-4191-8A85-E5AD227C2526}" type="sibTrans" cxnId="{2BE7B96C-66BB-4955-A164-6042F81DA46F}">
      <dgm:prSet/>
      <dgm:spPr/>
      <dgm:t>
        <a:bodyPr/>
        <a:lstStyle/>
        <a:p>
          <a:endParaRPr lang="en-US"/>
        </a:p>
      </dgm:t>
    </dgm:pt>
    <dgm:pt modelId="{6FA57EB5-1680-4E81-9ACF-21D282E2BA8E}" type="pres">
      <dgm:prSet presAssocID="{EFD6F1C4-555E-4651-B327-591730DAFC4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22B5C5F-567A-4EAE-9F23-8BB98D6CE019}" type="pres">
      <dgm:prSet presAssocID="{EE5185E6-DE22-485A-AD87-760ACA358FA9}" presName="boxAndChildren" presStyleCnt="0"/>
      <dgm:spPr/>
      <dgm:t>
        <a:bodyPr/>
        <a:lstStyle/>
        <a:p>
          <a:endParaRPr lang="en-US"/>
        </a:p>
      </dgm:t>
    </dgm:pt>
    <dgm:pt modelId="{4958E8B0-F805-4729-B01F-E940F4BB688D}" type="pres">
      <dgm:prSet presAssocID="{EE5185E6-DE22-485A-AD87-760ACA358FA9}" presName="parentTextBox" presStyleLbl="node1" presStyleIdx="0" presStyleCnt="3"/>
      <dgm:spPr/>
      <dgm:t>
        <a:bodyPr/>
        <a:lstStyle/>
        <a:p>
          <a:endParaRPr lang="en-US"/>
        </a:p>
      </dgm:t>
    </dgm:pt>
    <dgm:pt modelId="{3F2DB127-4F50-455C-A134-BB21E57DE07A}" type="pres">
      <dgm:prSet presAssocID="{EE5185E6-DE22-485A-AD87-760ACA358FA9}" presName="entireBox" presStyleLbl="node1" presStyleIdx="0" presStyleCnt="3"/>
      <dgm:spPr/>
      <dgm:t>
        <a:bodyPr/>
        <a:lstStyle/>
        <a:p>
          <a:endParaRPr lang="en-US"/>
        </a:p>
      </dgm:t>
    </dgm:pt>
    <dgm:pt modelId="{75C056E6-6B94-4BE0-9B96-EDBDAFDB3F82}" type="pres">
      <dgm:prSet presAssocID="{EE5185E6-DE22-485A-AD87-760ACA358FA9}" presName="descendantBox" presStyleCnt="0"/>
      <dgm:spPr/>
      <dgm:t>
        <a:bodyPr/>
        <a:lstStyle/>
        <a:p>
          <a:endParaRPr lang="en-US"/>
        </a:p>
      </dgm:t>
    </dgm:pt>
    <dgm:pt modelId="{446BC726-280A-42B8-81CC-3A9D473EE824}" type="pres">
      <dgm:prSet presAssocID="{C56D8FA0-D031-447F-BC89-7149EB6C6D83}" presName="childTextBox" presStyleLbl="fg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CB7497-0A73-47F6-9BB1-D530C703F55F}" type="pres">
      <dgm:prSet presAssocID="{515F4125-3E30-444F-8506-6B3962B23395}" presName="childTextBox" presStyleLbl="fg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93254-8614-4B07-9A8A-7ABA550CEF3E}" type="pres">
      <dgm:prSet presAssocID="{3AC07612-966B-42D5-BD5F-E3E08BFD0EA5}" presName="sp" presStyleCnt="0"/>
      <dgm:spPr/>
      <dgm:t>
        <a:bodyPr/>
        <a:lstStyle/>
        <a:p>
          <a:endParaRPr lang="en-US"/>
        </a:p>
      </dgm:t>
    </dgm:pt>
    <dgm:pt modelId="{52926474-3917-4033-9B53-A345E4A8238A}" type="pres">
      <dgm:prSet presAssocID="{7CB77FFE-50C7-4009-8B33-F87972D20D28}" presName="arrowAndChildren" presStyleCnt="0"/>
      <dgm:spPr/>
      <dgm:t>
        <a:bodyPr/>
        <a:lstStyle/>
        <a:p>
          <a:endParaRPr lang="en-US"/>
        </a:p>
      </dgm:t>
    </dgm:pt>
    <dgm:pt modelId="{2257054A-9F10-434A-8708-24618805C59E}" type="pres">
      <dgm:prSet presAssocID="{7CB77FFE-50C7-4009-8B33-F87972D20D28}" presName="parentTextArrow" presStyleLbl="node1" presStyleIdx="0" presStyleCnt="3"/>
      <dgm:spPr/>
      <dgm:t>
        <a:bodyPr/>
        <a:lstStyle/>
        <a:p>
          <a:endParaRPr lang="en-US"/>
        </a:p>
      </dgm:t>
    </dgm:pt>
    <dgm:pt modelId="{3503747D-E9F1-4931-90D2-21ED37D8ED44}" type="pres">
      <dgm:prSet presAssocID="{7CB77FFE-50C7-4009-8B33-F87972D20D28}" presName="arrow" presStyleLbl="node1" presStyleIdx="1" presStyleCnt="3"/>
      <dgm:spPr/>
      <dgm:t>
        <a:bodyPr/>
        <a:lstStyle/>
        <a:p>
          <a:endParaRPr lang="en-US"/>
        </a:p>
      </dgm:t>
    </dgm:pt>
    <dgm:pt modelId="{1FEBF067-FAA1-4C8E-A0B0-0D5393B9EDCD}" type="pres">
      <dgm:prSet presAssocID="{7CB77FFE-50C7-4009-8B33-F87972D20D28}" presName="descendantArrow" presStyleCnt="0"/>
      <dgm:spPr/>
      <dgm:t>
        <a:bodyPr/>
        <a:lstStyle/>
        <a:p>
          <a:endParaRPr lang="en-US"/>
        </a:p>
      </dgm:t>
    </dgm:pt>
    <dgm:pt modelId="{356F8454-8C6F-4157-B465-1336428A865A}" type="pres">
      <dgm:prSet presAssocID="{AC76B71E-898E-4727-8F30-2B43E80471C6}" presName="childTextArrow" presStyleLbl="fg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60DFCA-A2C1-4AFF-8DC9-F0FE15D98FAD}" type="pres">
      <dgm:prSet presAssocID="{6BF3B008-5CF9-4477-A068-4755BA87D253}" presName="childTextArrow" presStyleLbl="fg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D45956-B14F-456D-8CB6-0FAC1456E62D}" type="pres">
      <dgm:prSet presAssocID="{7D5FA183-111F-4E4D-8C93-F03C0BC3933E}" presName="sp" presStyleCnt="0"/>
      <dgm:spPr/>
      <dgm:t>
        <a:bodyPr/>
        <a:lstStyle/>
        <a:p>
          <a:endParaRPr lang="en-US"/>
        </a:p>
      </dgm:t>
    </dgm:pt>
    <dgm:pt modelId="{5710242A-D81A-4183-9C59-B1E1FDD5FCB7}" type="pres">
      <dgm:prSet presAssocID="{95499119-95FE-4E81-BAD6-0D9CFFBEDC5F}" presName="arrowAndChildren" presStyleCnt="0"/>
      <dgm:spPr/>
      <dgm:t>
        <a:bodyPr/>
        <a:lstStyle/>
        <a:p>
          <a:endParaRPr lang="en-US"/>
        </a:p>
      </dgm:t>
    </dgm:pt>
    <dgm:pt modelId="{8F281A7B-859F-4D48-9486-944ECE82DA1B}" type="pres">
      <dgm:prSet presAssocID="{95499119-95FE-4E81-BAD6-0D9CFFBEDC5F}" presName="parentTextArrow" presStyleLbl="node1" presStyleIdx="1" presStyleCnt="3"/>
      <dgm:spPr/>
      <dgm:t>
        <a:bodyPr/>
        <a:lstStyle/>
        <a:p>
          <a:endParaRPr lang="en-US"/>
        </a:p>
      </dgm:t>
    </dgm:pt>
    <dgm:pt modelId="{1791FC7B-E26A-435B-90E9-939DF1A84C1F}" type="pres">
      <dgm:prSet presAssocID="{95499119-95FE-4E81-BAD6-0D9CFFBEDC5F}" presName="arrow" presStyleLbl="node1" presStyleIdx="2" presStyleCnt="3" custLinFactNeighborY="-1990"/>
      <dgm:spPr/>
      <dgm:t>
        <a:bodyPr/>
        <a:lstStyle/>
        <a:p>
          <a:endParaRPr lang="en-US"/>
        </a:p>
      </dgm:t>
    </dgm:pt>
    <dgm:pt modelId="{81F36749-26A1-4D10-AFA7-6743AAC7D20D}" type="pres">
      <dgm:prSet presAssocID="{95499119-95FE-4E81-BAD6-0D9CFFBEDC5F}" presName="descendantArrow" presStyleCnt="0"/>
      <dgm:spPr/>
      <dgm:t>
        <a:bodyPr/>
        <a:lstStyle/>
        <a:p>
          <a:endParaRPr lang="en-US"/>
        </a:p>
      </dgm:t>
    </dgm:pt>
    <dgm:pt modelId="{30EFA81C-7BDD-40B9-B845-19560661AB32}" type="pres">
      <dgm:prSet presAssocID="{66DB2488-52F7-4A8F-AFB2-19342DB8C3EA}" presName="childTextArrow" presStyleLbl="fg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F5CBD4-6EE3-4409-B58E-CC18648FB98E}" type="pres">
      <dgm:prSet presAssocID="{53526255-3CB6-411F-89D6-73B31523C2BD}" presName="childTextArrow" presStyleLbl="fg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79807E9-5A1A-40F0-94EF-E3B0875B15AA}" type="presOf" srcId="{95499119-95FE-4E81-BAD6-0D9CFFBEDC5F}" destId="{1791FC7B-E26A-435B-90E9-939DF1A84C1F}" srcOrd="1" destOrd="0" presId="urn:microsoft.com/office/officeart/2005/8/layout/process4"/>
    <dgm:cxn modelId="{1E046F40-63A2-49EE-A577-3C340A196116}" srcId="{95499119-95FE-4E81-BAD6-0D9CFFBEDC5F}" destId="{66DB2488-52F7-4A8F-AFB2-19342DB8C3EA}" srcOrd="0" destOrd="0" parTransId="{1416D88B-9B5B-42E3-963F-CB8E01A60A44}" sibTransId="{41A8A9E9-2746-4CEE-AB52-C66BA5A19BA6}"/>
    <dgm:cxn modelId="{B6CFC428-3C8E-47EE-ACE3-1E1148CB669C}" srcId="{95499119-95FE-4E81-BAD6-0D9CFFBEDC5F}" destId="{53526255-3CB6-411F-89D6-73B31523C2BD}" srcOrd="1" destOrd="0" parTransId="{371396C7-FA27-4C10-B40B-B3D31ED45F03}" sibTransId="{540E3480-A02A-404E-998E-CC319E998997}"/>
    <dgm:cxn modelId="{4D36F885-2E1B-4AD8-A4DD-86164BE07648}" type="presOf" srcId="{EFD6F1C4-555E-4651-B327-591730DAFC49}" destId="{6FA57EB5-1680-4E81-9ACF-21D282E2BA8E}" srcOrd="0" destOrd="0" presId="urn:microsoft.com/office/officeart/2005/8/layout/process4"/>
    <dgm:cxn modelId="{B1CAD86C-A428-42F9-9C2C-EBC62C6A9A9D}" srcId="{7CB77FFE-50C7-4009-8B33-F87972D20D28}" destId="{AC76B71E-898E-4727-8F30-2B43E80471C6}" srcOrd="0" destOrd="0" parTransId="{2E7A4793-5059-4737-A7CA-9B745B2FED1D}" sibTransId="{528E6136-A98E-4802-ABEB-015B54A76A8B}"/>
    <dgm:cxn modelId="{CF0071DB-5422-405D-A7F6-2E7D43A5C99C}" type="presOf" srcId="{C56D8FA0-D031-447F-BC89-7149EB6C6D83}" destId="{446BC726-280A-42B8-81CC-3A9D473EE824}" srcOrd="0" destOrd="0" presId="urn:microsoft.com/office/officeart/2005/8/layout/process4"/>
    <dgm:cxn modelId="{8CD39A2A-28C2-42BB-A0AE-FC6196151BE5}" srcId="{EFD6F1C4-555E-4651-B327-591730DAFC49}" destId="{EE5185E6-DE22-485A-AD87-760ACA358FA9}" srcOrd="2" destOrd="0" parTransId="{D48CDAAE-D2BD-43CA-9906-681B0E8B2610}" sibTransId="{59DE3D20-AA39-4F10-92A9-9904AA9FDE32}"/>
    <dgm:cxn modelId="{2BE7B96C-66BB-4955-A164-6042F81DA46F}" srcId="{EE5185E6-DE22-485A-AD87-760ACA358FA9}" destId="{515F4125-3E30-444F-8506-6B3962B23395}" srcOrd="1" destOrd="0" parTransId="{FBA7ECEE-DFF7-4208-88BB-705F1248AF8E}" sibTransId="{4774A542-66F6-4191-8A85-E5AD227C2526}"/>
    <dgm:cxn modelId="{03D7832D-4E6A-495E-B30F-062B28B4E741}" type="presOf" srcId="{7CB77FFE-50C7-4009-8B33-F87972D20D28}" destId="{3503747D-E9F1-4931-90D2-21ED37D8ED44}" srcOrd="1" destOrd="0" presId="urn:microsoft.com/office/officeart/2005/8/layout/process4"/>
    <dgm:cxn modelId="{53ED27F2-62D1-424F-AB40-6FA505265040}" type="presOf" srcId="{515F4125-3E30-444F-8506-6B3962B23395}" destId="{39CB7497-0A73-47F6-9BB1-D530C703F55F}" srcOrd="0" destOrd="0" presId="urn:microsoft.com/office/officeart/2005/8/layout/process4"/>
    <dgm:cxn modelId="{4FD3A460-11F0-4A3C-BBD8-E3D09C326311}" type="presOf" srcId="{95499119-95FE-4E81-BAD6-0D9CFFBEDC5F}" destId="{8F281A7B-859F-4D48-9486-944ECE82DA1B}" srcOrd="0" destOrd="0" presId="urn:microsoft.com/office/officeart/2005/8/layout/process4"/>
    <dgm:cxn modelId="{BA004F23-F0CC-40A4-93B8-DB715BDB7603}" type="presOf" srcId="{EE5185E6-DE22-485A-AD87-760ACA358FA9}" destId="{4958E8B0-F805-4729-B01F-E940F4BB688D}" srcOrd="0" destOrd="0" presId="urn:microsoft.com/office/officeart/2005/8/layout/process4"/>
    <dgm:cxn modelId="{8C25A44D-0038-4395-9BC7-A81072373202}" type="presOf" srcId="{66DB2488-52F7-4A8F-AFB2-19342DB8C3EA}" destId="{30EFA81C-7BDD-40B9-B845-19560661AB32}" srcOrd="0" destOrd="0" presId="urn:microsoft.com/office/officeart/2005/8/layout/process4"/>
    <dgm:cxn modelId="{8E3337D1-A98A-4E9B-95BA-28FAE1FB8619}" srcId="{EFD6F1C4-555E-4651-B327-591730DAFC49}" destId="{95499119-95FE-4E81-BAD6-0D9CFFBEDC5F}" srcOrd="0" destOrd="0" parTransId="{147767AC-50E3-4105-9880-536FFF99F0DA}" sibTransId="{7D5FA183-111F-4E4D-8C93-F03C0BC3933E}"/>
    <dgm:cxn modelId="{0E2CFE2C-CDAA-46D4-9F51-80125FE4B753}" srcId="{7CB77FFE-50C7-4009-8B33-F87972D20D28}" destId="{6BF3B008-5CF9-4477-A068-4755BA87D253}" srcOrd="1" destOrd="0" parTransId="{366E76B1-CE0E-4D88-9C3C-823A8E9101B2}" sibTransId="{2A1B5D2F-2803-4522-8D23-E95FB3CED28F}"/>
    <dgm:cxn modelId="{1BEDA86B-D546-4661-85DD-625367E214EE}" type="presOf" srcId="{6BF3B008-5CF9-4477-A068-4755BA87D253}" destId="{D160DFCA-A2C1-4AFF-8DC9-F0FE15D98FAD}" srcOrd="0" destOrd="0" presId="urn:microsoft.com/office/officeart/2005/8/layout/process4"/>
    <dgm:cxn modelId="{540FF361-8F7D-4BAC-BEA3-3DB115BD5DDE}" type="presOf" srcId="{AC76B71E-898E-4727-8F30-2B43E80471C6}" destId="{356F8454-8C6F-4157-B465-1336428A865A}" srcOrd="0" destOrd="0" presId="urn:microsoft.com/office/officeart/2005/8/layout/process4"/>
    <dgm:cxn modelId="{A633C889-D680-4DE3-93A2-76FBC669FCD1}" type="presOf" srcId="{53526255-3CB6-411F-89D6-73B31523C2BD}" destId="{B9F5CBD4-6EE3-4409-B58E-CC18648FB98E}" srcOrd="0" destOrd="0" presId="urn:microsoft.com/office/officeart/2005/8/layout/process4"/>
    <dgm:cxn modelId="{EB8C7803-44DE-4FA5-B6CD-E3E2673A350E}" srcId="{EE5185E6-DE22-485A-AD87-760ACA358FA9}" destId="{C56D8FA0-D031-447F-BC89-7149EB6C6D83}" srcOrd="0" destOrd="0" parTransId="{711FD02B-6E88-4BC3-9D2D-1EE58E674AD7}" sibTransId="{0EAB4AEE-1610-412C-8BA6-AA8A1BB1B833}"/>
    <dgm:cxn modelId="{1AE453BE-D5D2-438A-AD13-419B8D98DB35}" type="presOf" srcId="{7CB77FFE-50C7-4009-8B33-F87972D20D28}" destId="{2257054A-9F10-434A-8708-24618805C59E}" srcOrd="0" destOrd="0" presId="urn:microsoft.com/office/officeart/2005/8/layout/process4"/>
    <dgm:cxn modelId="{67CE83DA-4BE7-41AE-ACC8-CA15ACADE814}" type="presOf" srcId="{EE5185E6-DE22-485A-AD87-760ACA358FA9}" destId="{3F2DB127-4F50-455C-A134-BB21E57DE07A}" srcOrd="1" destOrd="0" presId="urn:microsoft.com/office/officeart/2005/8/layout/process4"/>
    <dgm:cxn modelId="{10CA6E0C-2876-47B3-B084-A6E2DAE3E257}" srcId="{EFD6F1C4-555E-4651-B327-591730DAFC49}" destId="{7CB77FFE-50C7-4009-8B33-F87972D20D28}" srcOrd="1" destOrd="0" parTransId="{DEBD9198-13BB-4B23-ACB3-FA04652F67AF}" sibTransId="{3AC07612-966B-42D5-BD5F-E3E08BFD0EA5}"/>
    <dgm:cxn modelId="{2B764559-6948-46D6-9690-F9AD252AEAFF}" type="presParOf" srcId="{6FA57EB5-1680-4E81-9ACF-21D282E2BA8E}" destId="{D22B5C5F-567A-4EAE-9F23-8BB98D6CE019}" srcOrd="0" destOrd="0" presId="urn:microsoft.com/office/officeart/2005/8/layout/process4"/>
    <dgm:cxn modelId="{5C21ADCE-C97E-408F-A4E7-71CB657FD304}" type="presParOf" srcId="{D22B5C5F-567A-4EAE-9F23-8BB98D6CE019}" destId="{4958E8B0-F805-4729-B01F-E940F4BB688D}" srcOrd="0" destOrd="0" presId="urn:microsoft.com/office/officeart/2005/8/layout/process4"/>
    <dgm:cxn modelId="{6616E4DB-6177-4EE8-A32D-844159AEB3EE}" type="presParOf" srcId="{D22B5C5F-567A-4EAE-9F23-8BB98D6CE019}" destId="{3F2DB127-4F50-455C-A134-BB21E57DE07A}" srcOrd="1" destOrd="0" presId="urn:microsoft.com/office/officeart/2005/8/layout/process4"/>
    <dgm:cxn modelId="{EA92B859-44E0-4C4A-B016-A7C356EFA74F}" type="presParOf" srcId="{D22B5C5F-567A-4EAE-9F23-8BB98D6CE019}" destId="{75C056E6-6B94-4BE0-9B96-EDBDAFDB3F82}" srcOrd="2" destOrd="0" presId="urn:microsoft.com/office/officeart/2005/8/layout/process4"/>
    <dgm:cxn modelId="{F5DAB5AA-F70E-4EFA-8D08-A2292C2945BF}" type="presParOf" srcId="{75C056E6-6B94-4BE0-9B96-EDBDAFDB3F82}" destId="{446BC726-280A-42B8-81CC-3A9D473EE824}" srcOrd="0" destOrd="0" presId="urn:microsoft.com/office/officeart/2005/8/layout/process4"/>
    <dgm:cxn modelId="{D40E47FE-1F18-4F8C-A39F-6A25937A25BD}" type="presParOf" srcId="{75C056E6-6B94-4BE0-9B96-EDBDAFDB3F82}" destId="{39CB7497-0A73-47F6-9BB1-D530C703F55F}" srcOrd="1" destOrd="0" presId="urn:microsoft.com/office/officeart/2005/8/layout/process4"/>
    <dgm:cxn modelId="{5CE37426-8C30-4E6F-BF04-ED5123552DF8}" type="presParOf" srcId="{6FA57EB5-1680-4E81-9ACF-21D282E2BA8E}" destId="{3F393254-8614-4B07-9A8A-7ABA550CEF3E}" srcOrd="1" destOrd="0" presId="urn:microsoft.com/office/officeart/2005/8/layout/process4"/>
    <dgm:cxn modelId="{0D31D5FF-D1C0-472E-8505-47414054CD34}" type="presParOf" srcId="{6FA57EB5-1680-4E81-9ACF-21D282E2BA8E}" destId="{52926474-3917-4033-9B53-A345E4A8238A}" srcOrd="2" destOrd="0" presId="urn:microsoft.com/office/officeart/2005/8/layout/process4"/>
    <dgm:cxn modelId="{53E9B3FC-DE72-498D-BE3C-1AD2B3044CC8}" type="presParOf" srcId="{52926474-3917-4033-9B53-A345E4A8238A}" destId="{2257054A-9F10-434A-8708-24618805C59E}" srcOrd="0" destOrd="0" presId="urn:microsoft.com/office/officeart/2005/8/layout/process4"/>
    <dgm:cxn modelId="{CB4BCC64-2A64-4BB9-BA38-EB3B94F0F70C}" type="presParOf" srcId="{52926474-3917-4033-9B53-A345E4A8238A}" destId="{3503747D-E9F1-4931-90D2-21ED37D8ED44}" srcOrd="1" destOrd="0" presId="urn:microsoft.com/office/officeart/2005/8/layout/process4"/>
    <dgm:cxn modelId="{49D2A532-6972-4CE2-93FA-A360282B8844}" type="presParOf" srcId="{52926474-3917-4033-9B53-A345E4A8238A}" destId="{1FEBF067-FAA1-4C8E-A0B0-0D5393B9EDCD}" srcOrd="2" destOrd="0" presId="urn:microsoft.com/office/officeart/2005/8/layout/process4"/>
    <dgm:cxn modelId="{8B4F2910-39FE-46E8-AB58-EDAC4E364345}" type="presParOf" srcId="{1FEBF067-FAA1-4C8E-A0B0-0D5393B9EDCD}" destId="{356F8454-8C6F-4157-B465-1336428A865A}" srcOrd="0" destOrd="0" presId="urn:microsoft.com/office/officeart/2005/8/layout/process4"/>
    <dgm:cxn modelId="{8AF6E05B-7BAF-42DC-BE07-4B5D1C458A0A}" type="presParOf" srcId="{1FEBF067-FAA1-4C8E-A0B0-0D5393B9EDCD}" destId="{D160DFCA-A2C1-4AFF-8DC9-F0FE15D98FAD}" srcOrd="1" destOrd="0" presId="urn:microsoft.com/office/officeart/2005/8/layout/process4"/>
    <dgm:cxn modelId="{D0E9C852-D4B6-477D-B2CB-CEB6F58D3FD9}" type="presParOf" srcId="{6FA57EB5-1680-4E81-9ACF-21D282E2BA8E}" destId="{ECD45956-B14F-456D-8CB6-0FAC1456E62D}" srcOrd="3" destOrd="0" presId="urn:microsoft.com/office/officeart/2005/8/layout/process4"/>
    <dgm:cxn modelId="{8D5F3406-D50C-41B1-9668-C30EB71A22EF}" type="presParOf" srcId="{6FA57EB5-1680-4E81-9ACF-21D282E2BA8E}" destId="{5710242A-D81A-4183-9C59-B1E1FDD5FCB7}" srcOrd="4" destOrd="0" presId="urn:microsoft.com/office/officeart/2005/8/layout/process4"/>
    <dgm:cxn modelId="{9E5C6D76-AED3-478C-872D-5AB447447DF9}" type="presParOf" srcId="{5710242A-D81A-4183-9C59-B1E1FDD5FCB7}" destId="{8F281A7B-859F-4D48-9486-944ECE82DA1B}" srcOrd="0" destOrd="0" presId="urn:microsoft.com/office/officeart/2005/8/layout/process4"/>
    <dgm:cxn modelId="{7FAE0266-51F7-469C-A643-4C1C32738AFF}" type="presParOf" srcId="{5710242A-D81A-4183-9C59-B1E1FDD5FCB7}" destId="{1791FC7B-E26A-435B-90E9-939DF1A84C1F}" srcOrd="1" destOrd="0" presId="urn:microsoft.com/office/officeart/2005/8/layout/process4"/>
    <dgm:cxn modelId="{2C07AAFB-FA82-4527-93E4-58F2940549F4}" type="presParOf" srcId="{5710242A-D81A-4183-9C59-B1E1FDD5FCB7}" destId="{81F36749-26A1-4D10-AFA7-6743AAC7D20D}" srcOrd="2" destOrd="0" presId="urn:microsoft.com/office/officeart/2005/8/layout/process4"/>
    <dgm:cxn modelId="{22865CFF-AE0D-4624-8C8C-C35B1B86D553}" type="presParOf" srcId="{81F36749-26A1-4D10-AFA7-6743AAC7D20D}" destId="{30EFA81C-7BDD-40B9-B845-19560661AB32}" srcOrd="0" destOrd="0" presId="urn:microsoft.com/office/officeart/2005/8/layout/process4"/>
    <dgm:cxn modelId="{C8998FBA-644E-42B6-9188-620DBDFD16D4}" type="presParOf" srcId="{81F36749-26A1-4D10-AFA7-6743AAC7D20D}" destId="{B9F5CBD4-6EE3-4409-B58E-CC18648FB98E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0BFEAB7-D5F6-4EFD-BD1E-7051D5918EAF}" type="doc">
      <dgm:prSet loTypeId="urn:microsoft.com/office/officeart/2005/8/layout/hList6" loCatId="list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3A6681A8-F6C2-4A5C-874A-86E5FA63ACA6}">
      <dgm:prSet phldrT="[Text]" custT="1"/>
      <dgm:spPr/>
      <dgm:t>
        <a:bodyPr anchor="ctr"/>
        <a:lstStyle/>
        <a:p>
          <a:pPr algn="l"/>
          <a:r>
            <a:rPr lang="en-US" sz="2000" dirty="0" smtClean="0"/>
            <a:t>Monitoring and Measuring: </a:t>
          </a:r>
        </a:p>
        <a:p>
          <a:pPr algn="l"/>
          <a:r>
            <a:rPr lang="en-US" sz="2000" dirty="0" smtClean="0"/>
            <a:t>Evaluating Efforts and Midcourse Corrections  </a:t>
          </a:r>
        </a:p>
      </dgm:t>
    </dgm:pt>
    <dgm:pt modelId="{DBF24120-6889-40B1-9F35-D056B339C6E6}" type="parTrans" cxnId="{7E503C4B-38EE-49E4-A3C5-1E2626C2052F}">
      <dgm:prSet/>
      <dgm:spPr/>
      <dgm:t>
        <a:bodyPr/>
        <a:lstStyle/>
        <a:p>
          <a:endParaRPr lang="en-US"/>
        </a:p>
      </dgm:t>
    </dgm:pt>
    <dgm:pt modelId="{E7592246-122F-4ACF-B4CB-83746F57CDDB}" type="sibTrans" cxnId="{7E503C4B-38EE-49E4-A3C5-1E2626C2052F}">
      <dgm:prSet/>
      <dgm:spPr/>
      <dgm:t>
        <a:bodyPr/>
        <a:lstStyle/>
        <a:p>
          <a:endParaRPr lang="en-US"/>
        </a:p>
      </dgm:t>
    </dgm:pt>
    <dgm:pt modelId="{E0A57120-754F-47AB-AA05-BFE8C1D3C196}">
      <dgm:prSet phldrT="[Text]" custT="1"/>
      <dgm:spPr/>
      <dgm:t>
        <a:bodyPr anchor="ctr"/>
        <a:lstStyle/>
        <a:p>
          <a:pPr algn="l"/>
          <a:r>
            <a:rPr lang="en-US" sz="2000" dirty="0" smtClean="0"/>
            <a:t>PD Systems:</a:t>
          </a:r>
        </a:p>
        <a:p>
          <a:pPr algn="l"/>
          <a:r>
            <a:rPr lang="en-US" sz="2000" dirty="0" smtClean="0"/>
            <a:t>A Responsive System </a:t>
          </a:r>
          <a:endParaRPr lang="en-US" sz="2000" dirty="0"/>
        </a:p>
      </dgm:t>
    </dgm:pt>
    <dgm:pt modelId="{6EB0A36D-4A00-404E-B4FD-B4EDAA57CFAC}" type="parTrans" cxnId="{0CFCC602-A726-466A-8714-445BDD1F60F9}">
      <dgm:prSet/>
      <dgm:spPr/>
      <dgm:t>
        <a:bodyPr/>
        <a:lstStyle/>
        <a:p>
          <a:endParaRPr lang="en-US"/>
        </a:p>
      </dgm:t>
    </dgm:pt>
    <dgm:pt modelId="{16F134E5-47DE-462A-9EBA-16523589B35C}" type="sibTrans" cxnId="{0CFCC602-A726-466A-8714-445BDD1F60F9}">
      <dgm:prSet/>
      <dgm:spPr/>
      <dgm:t>
        <a:bodyPr/>
        <a:lstStyle/>
        <a:p>
          <a:endParaRPr lang="en-US"/>
        </a:p>
      </dgm:t>
    </dgm:pt>
    <dgm:pt modelId="{8FA69569-691A-4253-B441-2DD79B854CB2}">
      <dgm:prSet phldrT="[Text]" custT="1"/>
      <dgm:spPr/>
      <dgm:t>
        <a:bodyPr anchor="ctr"/>
        <a:lstStyle/>
        <a:p>
          <a:pPr algn="ctr"/>
          <a:r>
            <a:rPr lang="en-US" sz="2000" dirty="0" smtClean="0"/>
            <a:t>Scaling and Sustainability:</a:t>
          </a:r>
        </a:p>
        <a:p>
          <a:pPr algn="ctr"/>
          <a:r>
            <a:rPr lang="en-US" sz="2000" dirty="0" smtClean="0"/>
            <a:t> Applying Lessons Learned   </a:t>
          </a:r>
        </a:p>
      </dgm:t>
    </dgm:pt>
    <dgm:pt modelId="{0BDB8B6B-70CD-4DFD-8CA5-7973A805A140}" type="parTrans" cxnId="{C2F7E0E0-6CBF-491F-8CA6-1B1EF37FB52F}">
      <dgm:prSet/>
      <dgm:spPr/>
      <dgm:t>
        <a:bodyPr/>
        <a:lstStyle/>
        <a:p>
          <a:endParaRPr lang="en-US"/>
        </a:p>
      </dgm:t>
    </dgm:pt>
    <dgm:pt modelId="{3F06D9C9-3015-4F78-BCC6-FF516A3ED6BD}" type="sibTrans" cxnId="{C2F7E0E0-6CBF-491F-8CA6-1B1EF37FB52F}">
      <dgm:prSet/>
      <dgm:spPr/>
      <dgm:t>
        <a:bodyPr/>
        <a:lstStyle/>
        <a:p>
          <a:endParaRPr lang="en-US"/>
        </a:p>
      </dgm:t>
    </dgm:pt>
    <dgm:pt modelId="{B04D5C8B-E0BF-4A2D-9050-39AB4EBBEA1D}" type="pres">
      <dgm:prSet presAssocID="{30BFEAB7-D5F6-4EFD-BD1E-7051D5918EA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043D7F-08FD-482D-ABF2-3881ADF0E893}" type="pres">
      <dgm:prSet presAssocID="{3A6681A8-F6C2-4A5C-874A-86E5FA63ACA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3F641F-44B9-4F16-AC5D-7B192FEA87A7}" type="pres">
      <dgm:prSet presAssocID="{E7592246-122F-4ACF-B4CB-83746F57CDDB}" presName="sibTrans" presStyleCnt="0"/>
      <dgm:spPr/>
      <dgm:t>
        <a:bodyPr/>
        <a:lstStyle/>
        <a:p>
          <a:endParaRPr lang="en-US"/>
        </a:p>
      </dgm:t>
    </dgm:pt>
    <dgm:pt modelId="{4FE10066-F333-4197-B65A-4DB305A4C94E}" type="pres">
      <dgm:prSet presAssocID="{E0A57120-754F-47AB-AA05-BFE8C1D3C19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00C743-358C-4496-9E32-F956E0C95E83}" type="pres">
      <dgm:prSet presAssocID="{16F134E5-47DE-462A-9EBA-16523589B35C}" presName="sibTrans" presStyleCnt="0"/>
      <dgm:spPr/>
      <dgm:t>
        <a:bodyPr/>
        <a:lstStyle/>
        <a:p>
          <a:endParaRPr lang="en-US"/>
        </a:p>
      </dgm:t>
    </dgm:pt>
    <dgm:pt modelId="{7EDE6A13-EE6B-418B-8D87-A96E5021CDA0}" type="pres">
      <dgm:prSet presAssocID="{8FA69569-691A-4253-B441-2DD79B854CB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FCC602-A726-466A-8714-445BDD1F60F9}" srcId="{30BFEAB7-D5F6-4EFD-BD1E-7051D5918EAF}" destId="{E0A57120-754F-47AB-AA05-BFE8C1D3C196}" srcOrd="1" destOrd="0" parTransId="{6EB0A36D-4A00-404E-B4FD-B4EDAA57CFAC}" sibTransId="{16F134E5-47DE-462A-9EBA-16523589B35C}"/>
    <dgm:cxn modelId="{C2F7E0E0-6CBF-491F-8CA6-1B1EF37FB52F}" srcId="{30BFEAB7-D5F6-4EFD-BD1E-7051D5918EAF}" destId="{8FA69569-691A-4253-B441-2DD79B854CB2}" srcOrd="2" destOrd="0" parTransId="{0BDB8B6B-70CD-4DFD-8CA5-7973A805A140}" sibTransId="{3F06D9C9-3015-4F78-BCC6-FF516A3ED6BD}"/>
    <dgm:cxn modelId="{6BA108F9-211F-4BC7-AF43-21A2CB1B4A9C}" type="presOf" srcId="{8FA69569-691A-4253-B441-2DD79B854CB2}" destId="{7EDE6A13-EE6B-418B-8D87-A96E5021CDA0}" srcOrd="0" destOrd="0" presId="urn:microsoft.com/office/officeart/2005/8/layout/hList6"/>
    <dgm:cxn modelId="{65751A4D-69B4-4D01-A410-D97F13B1745A}" type="presOf" srcId="{30BFEAB7-D5F6-4EFD-BD1E-7051D5918EAF}" destId="{B04D5C8B-E0BF-4A2D-9050-39AB4EBBEA1D}" srcOrd="0" destOrd="0" presId="urn:microsoft.com/office/officeart/2005/8/layout/hList6"/>
    <dgm:cxn modelId="{7E503C4B-38EE-49E4-A3C5-1E2626C2052F}" srcId="{30BFEAB7-D5F6-4EFD-BD1E-7051D5918EAF}" destId="{3A6681A8-F6C2-4A5C-874A-86E5FA63ACA6}" srcOrd="0" destOrd="0" parTransId="{DBF24120-6889-40B1-9F35-D056B339C6E6}" sibTransId="{E7592246-122F-4ACF-B4CB-83746F57CDDB}"/>
    <dgm:cxn modelId="{829D08C3-C8C5-48CE-8CFA-A634E8DF8B09}" type="presOf" srcId="{E0A57120-754F-47AB-AA05-BFE8C1D3C196}" destId="{4FE10066-F333-4197-B65A-4DB305A4C94E}" srcOrd="0" destOrd="0" presId="urn:microsoft.com/office/officeart/2005/8/layout/hList6"/>
    <dgm:cxn modelId="{AD1F8812-469A-4204-BF7C-28CA0D60B6C3}" type="presOf" srcId="{3A6681A8-F6C2-4A5C-874A-86E5FA63ACA6}" destId="{04043D7F-08FD-482D-ABF2-3881ADF0E893}" srcOrd="0" destOrd="0" presId="urn:microsoft.com/office/officeart/2005/8/layout/hList6"/>
    <dgm:cxn modelId="{18A4E7F6-2300-46A4-9D2F-D9E9B7A253B7}" type="presParOf" srcId="{B04D5C8B-E0BF-4A2D-9050-39AB4EBBEA1D}" destId="{04043D7F-08FD-482D-ABF2-3881ADF0E893}" srcOrd="0" destOrd="0" presId="urn:microsoft.com/office/officeart/2005/8/layout/hList6"/>
    <dgm:cxn modelId="{A1F4C9FC-BD05-4DB5-AF91-80401536BD72}" type="presParOf" srcId="{B04D5C8B-E0BF-4A2D-9050-39AB4EBBEA1D}" destId="{073F641F-44B9-4F16-AC5D-7B192FEA87A7}" srcOrd="1" destOrd="0" presId="urn:microsoft.com/office/officeart/2005/8/layout/hList6"/>
    <dgm:cxn modelId="{C3523577-E300-4329-897F-C1F07BED92AF}" type="presParOf" srcId="{B04D5C8B-E0BF-4A2D-9050-39AB4EBBEA1D}" destId="{4FE10066-F333-4197-B65A-4DB305A4C94E}" srcOrd="2" destOrd="0" presId="urn:microsoft.com/office/officeart/2005/8/layout/hList6"/>
    <dgm:cxn modelId="{E2511A6E-893B-4D68-8B84-5DEE4E8832D6}" type="presParOf" srcId="{B04D5C8B-E0BF-4A2D-9050-39AB4EBBEA1D}" destId="{3800C743-358C-4496-9E32-F956E0C95E83}" srcOrd="3" destOrd="0" presId="urn:microsoft.com/office/officeart/2005/8/layout/hList6"/>
    <dgm:cxn modelId="{9D7A27F6-4A89-4008-83D3-5CBA0BE4EC2F}" type="presParOf" srcId="{B04D5C8B-E0BF-4A2D-9050-39AB4EBBEA1D}" destId="{7EDE6A13-EE6B-418B-8D87-A96E5021CDA0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A7966F8-822D-41E3-B7B9-1DD19EBABD83}" type="doc">
      <dgm:prSet loTypeId="urn:microsoft.com/office/officeart/2005/8/layout/vList5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E8F64C38-E178-4A90-BE1E-F8E5945F5970}">
      <dgm:prSet phldrT="[Text]"/>
      <dgm:spPr/>
      <dgm:t>
        <a:bodyPr/>
        <a:lstStyle/>
        <a:p>
          <a:r>
            <a:rPr lang="en-US" dirty="0" smtClean="0"/>
            <a:t>Essential Question</a:t>
          </a:r>
          <a:endParaRPr lang="en-US" dirty="0"/>
        </a:p>
      </dgm:t>
    </dgm:pt>
    <dgm:pt modelId="{58FDCB34-98C5-4009-9693-AE6B0FE2DA1A}" type="parTrans" cxnId="{056478E7-EEE8-420B-A466-345F3603B227}">
      <dgm:prSet/>
      <dgm:spPr/>
      <dgm:t>
        <a:bodyPr/>
        <a:lstStyle/>
        <a:p>
          <a:endParaRPr lang="en-US"/>
        </a:p>
      </dgm:t>
    </dgm:pt>
    <dgm:pt modelId="{C13EE644-8CD3-4231-A4D4-C69C91C57386}" type="sibTrans" cxnId="{056478E7-EEE8-420B-A466-345F3603B227}">
      <dgm:prSet/>
      <dgm:spPr/>
      <dgm:t>
        <a:bodyPr/>
        <a:lstStyle/>
        <a:p>
          <a:endParaRPr lang="en-US"/>
        </a:p>
      </dgm:t>
    </dgm:pt>
    <dgm:pt modelId="{C85B6833-D6BD-40DC-97A0-18BE4B22BAFB}">
      <dgm:prSet phldrT="[Text]" custT="1"/>
      <dgm:spPr/>
      <dgm:t>
        <a:bodyPr/>
        <a:lstStyle/>
        <a:p>
          <a:r>
            <a:rPr lang="en-US" sz="1800" dirty="0" smtClean="0"/>
            <a:t>How do we use time as an opportunity?    </a:t>
          </a:r>
          <a:endParaRPr lang="en-US" sz="1800" dirty="0"/>
        </a:p>
      </dgm:t>
    </dgm:pt>
    <dgm:pt modelId="{F2378F70-A71F-47EE-AFB3-AF5323F18878}" type="parTrans" cxnId="{3761AB7E-7B44-457A-90FB-A0F0496F2B9A}">
      <dgm:prSet/>
      <dgm:spPr/>
      <dgm:t>
        <a:bodyPr/>
        <a:lstStyle/>
        <a:p>
          <a:endParaRPr lang="en-US"/>
        </a:p>
      </dgm:t>
    </dgm:pt>
    <dgm:pt modelId="{A97175EF-0380-4D7A-938F-BBC39BD301F7}" type="sibTrans" cxnId="{3761AB7E-7B44-457A-90FB-A0F0496F2B9A}">
      <dgm:prSet/>
      <dgm:spPr/>
      <dgm:t>
        <a:bodyPr/>
        <a:lstStyle/>
        <a:p>
          <a:endParaRPr lang="en-US"/>
        </a:p>
      </dgm:t>
    </dgm:pt>
    <dgm:pt modelId="{3CB78CAB-CC40-470A-AABB-BFEFFF016C55}">
      <dgm:prSet phldrT="[Text]"/>
      <dgm:spPr/>
      <dgm:t>
        <a:bodyPr/>
        <a:lstStyle/>
        <a:p>
          <a:r>
            <a:rPr lang="en-US" dirty="0" smtClean="0"/>
            <a:t>Learning Goal </a:t>
          </a:r>
          <a:endParaRPr lang="en-US" dirty="0"/>
        </a:p>
      </dgm:t>
    </dgm:pt>
    <dgm:pt modelId="{333A6423-FA2C-4FB4-BE11-D253D0CA97C1}" type="parTrans" cxnId="{39B51E06-9E4B-4A58-8BBD-15CC5D258E47}">
      <dgm:prSet/>
      <dgm:spPr/>
      <dgm:t>
        <a:bodyPr/>
        <a:lstStyle/>
        <a:p>
          <a:endParaRPr lang="en-US"/>
        </a:p>
      </dgm:t>
    </dgm:pt>
    <dgm:pt modelId="{2D0B7EC2-DE42-4E95-8F24-CBFF1F2D3F8A}" type="sibTrans" cxnId="{39B51E06-9E4B-4A58-8BBD-15CC5D258E47}">
      <dgm:prSet/>
      <dgm:spPr/>
      <dgm:t>
        <a:bodyPr/>
        <a:lstStyle/>
        <a:p>
          <a:endParaRPr lang="en-US"/>
        </a:p>
      </dgm:t>
    </dgm:pt>
    <dgm:pt modelId="{29F14A4F-0269-478C-86EB-88D3E577B9F1}">
      <dgm:prSet phldrT="[Text]"/>
      <dgm:spPr/>
      <dgm:t>
        <a:bodyPr/>
        <a:lstStyle/>
        <a:p>
          <a:r>
            <a:rPr lang="en-US" dirty="0" smtClean="0"/>
            <a:t>Today’s Objective </a:t>
          </a:r>
          <a:endParaRPr lang="en-US" dirty="0"/>
        </a:p>
      </dgm:t>
    </dgm:pt>
    <dgm:pt modelId="{0EF0F732-173A-4090-8EE1-746C06EEF479}" type="parTrans" cxnId="{1A50968F-BAA6-4D90-911C-A65500E83853}">
      <dgm:prSet/>
      <dgm:spPr/>
      <dgm:t>
        <a:bodyPr/>
        <a:lstStyle/>
        <a:p>
          <a:endParaRPr lang="en-US"/>
        </a:p>
      </dgm:t>
    </dgm:pt>
    <dgm:pt modelId="{63711084-8A8B-4A0C-BA85-2B2E6FB0DA3B}" type="sibTrans" cxnId="{1A50968F-BAA6-4D90-911C-A65500E83853}">
      <dgm:prSet/>
      <dgm:spPr/>
      <dgm:t>
        <a:bodyPr/>
        <a:lstStyle/>
        <a:p>
          <a:endParaRPr lang="en-US"/>
        </a:p>
      </dgm:t>
    </dgm:pt>
    <dgm:pt modelId="{C4490EC0-B995-49EC-ACAE-DCB33BB325CF}">
      <dgm:prSet phldrT="[Text]" custT="1"/>
      <dgm:spPr/>
      <dgm:t>
        <a:bodyPr/>
        <a:lstStyle/>
        <a:p>
          <a:r>
            <a:rPr lang="en-US" sz="1800" dirty="0" smtClean="0"/>
            <a:t>Educators will discover how time is used as an opportunity for job-embedded professional learning by exploring school models. </a:t>
          </a:r>
          <a:endParaRPr lang="en-US" sz="1800" dirty="0"/>
        </a:p>
      </dgm:t>
    </dgm:pt>
    <dgm:pt modelId="{031F4E60-FFF2-40E8-813B-094BD0AA1030}" type="parTrans" cxnId="{DF3D1BCC-A9AF-479B-8B0A-BB2A3B51A393}">
      <dgm:prSet/>
      <dgm:spPr/>
      <dgm:t>
        <a:bodyPr/>
        <a:lstStyle/>
        <a:p>
          <a:endParaRPr lang="en-US"/>
        </a:p>
      </dgm:t>
    </dgm:pt>
    <dgm:pt modelId="{0D2DA8DA-B9E7-4E6F-A2A0-F22C1CB344D3}" type="sibTrans" cxnId="{DF3D1BCC-A9AF-479B-8B0A-BB2A3B51A393}">
      <dgm:prSet/>
      <dgm:spPr/>
      <dgm:t>
        <a:bodyPr/>
        <a:lstStyle/>
        <a:p>
          <a:endParaRPr lang="en-US"/>
        </a:p>
      </dgm:t>
    </dgm:pt>
    <dgm:pt modelId="{17B0E5B5-E0CF-46C9-99E7-13714D37FC27}">
      <dgm:prSet phldrT="[Text]" custT="1"/>
      <dgm:spPr/>
      <dgm:t>
        <a:bodyPr/>
        <a:lstStyle/>
        <a:p>
          <a:r>
            <a:rPr lang="en-US" sz="1800" dirty="0" smtClean="0"/>
            <a:t>Participants will understand how time is an opportunity to improve student outcomes by improving teacher practice. </a:t>
          </a:r>
          <a:endParaRPr lang="en-US" sz="1800" dirty="0"/>
        </a:p>
      </dgm:t>
    </dgm:pt>
    <dgm:pt modelId="{CED18BDF-E866-48D5-919B-153F159F2A82}" type="sibTrans" cxnId="{E2770289-E62F-4A49-802E-42AA1123B11C}">
      <dgm:prSet/>
      <dgm:spPr/>
      <dgm:t>
        <a:bodyPr/>
        <a:lstStyle/>
        <a:p>
          <a:endParaRPr lang="en-US"/>
        </a:p>
      </dgm:t>
    </dgm:pt>
    <dgm:pt modelId="{592F936F-5AE0-48E7-8D5F-467E2DB55042}" type="parTrans" cxnId="{E2770289-E62F-4A49-802E-42AA1123B11C}">
      <dgm:prSet/>
      <dgm:spPr/>
      <dgm:t>
        <a:bodyPr/>
        <a:lstStyle/>
        <a:p>
          <a:endParaRPr lang="en-US"/>
        </a:p>
      </dgm:t>
    </dgm:pt>
    <dgm:pt modelId="{200A3319-69A2-4BC0-9758-4D669E47BE75}" type="pres">
      <dgm:prSet presAssocID="{7A7966F8-822D-41E3-B7B9-1DD19EBABD8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88A125-1415-4360-A5E6-BFE1BB478FCC}" type="pres">
      <dgm:prSet presAssocID="{E8F64C38-E178-4A90-BE1E-F8E5945F5970}" presName="linNode" presStyleCnt="0"/>
      <dgm:spPr/>
    </dgm:pt>
    <dgm:pt modelId="{2CAE6E97-02DA-48E2-8CE3-4990010EDA51}" type="pres">
      <dgm:prSet presAssocID="{E8F64C38-E178-4A90-BE1E-F8E5945F5970}" presName="parentText" presStyleLbl="node1" presStyleIdx="0" presStyleCnt="3" custScaleX="544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443E70-E99D-43A2-A042-73CFB527A645}" type="pres">
      <dgm:prSet presAssocID="{E8F64C38-E178-4A90-BE1E-F8E5945F5970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61BD18-DD87-4D4B-BA65-AACB02F68120}" type="pres">
      <dgm:prSet presAssocID="{C13EE644-8CD3-4231-A4D4-C69C91C57386}" presName="sp" presStyleCnt="0"/>
      <dgm:spPr/>
    </dgm:pt>
    <dgm:pt modelId="{C06DEE8E-79C9-49DB-BF18-DEE6500B3005}" type="pres">
      <dgm:prSet presAssocID="{3CB78CAB-CC40-470A-AABB-BFEFFF016C55}" presName="linNode" presStyleCnt="0"/>
      <dgm:spPr/>
    </dgm:pt>
    <dgm:pt modelId="{C55FAC14-47DA-4C38-8BB6-793219F789D5}" type="pres">
      <dgm:prSet presAssocID="{3CB78CAB-CC40-470A-AABB-BFEFFF016C55}" presName="parentText" presStyleLbl="node1" presStyleIdx="1" presStyleCnt="3" custScaleX="5416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26C686-BCD8-4A11-9CAD-19F6E04FECBB}" type="pres">
      <dgm:prSet presAssocID="{3CB78CAB-CC40-470A-AABB-BFEFFF016C55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6F0B3A-FEEF-4DA9-85E4-F408BBF9B6A0}" type="pres">
      <dgm:prSet presAssocID="{2D0B7EC2-DE42-4E95-8F24-CBFF1F2D3F8A}" presName="sp" presStyleCnt="0"/>
      <dgm:spPr/>
    </dgm:pt>
    <dgm:pt modelId="{9AA15307-B20B-4E80-B2A6-B2E5902D5F10}" type="pres">
      <dgm:prSet presAssocID="{29F14A4F-0269-478C-86EB-88D3E577B9F1}" presName="linNode" presStyleCnt="0"/>
      <dgm:spPr/>
    </dgm:pt>
    <dgm:pt modelId="{99C972B1-6FFF-4140-B48B-4602C0BEE743}" type="pres">
      <dgm:prSet presAssocID="{29F14A4F-0269-478C-86EB-88D3E577B9F1}" presName="parentText" presStyleLbl="node1" presStyleIdx="2" presStyleCnt="3" custScaleX="5416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480BA7-7C4C-45B9-B31E-857A2AA317BE}" type="pres">
      <dgm:prSet presAssocID="{29F14A4F-0269-478C-86EB-88D3E577B9F1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13EC80-8395-495F-B2A5-339EFD5A621D}" type="presOf" srcId="{3CB78CAB-CC40-470A-AABB-BFEFFF016C55}" destId="{C55FAC14-47DA-4C38-8BB6-793219F789D5}" srcOrd="0" destOrd="0" presId="urn:microsoft.com/office/officeart/2005/8/layout/vList5"/>
    <dgm:cxn modelId="{6F4C8B31-114A-44D5-AAA1-4050163ABB5A}" type="presOf" srcId="{7A7966F8-822D-41E3-B7B9-1DD19EBABD83}" destId="{200A3319-69A2-4BC0-9758-4D669E47BE75}" srcOrd="0" destOrd="0" presId="urn:microsoft.com/office/officeart/2005/8/layout/vList5"/>
    <dgm:cxn modelId="{E2770289-E62F-4A49-802E-42AA1123B11C}" srcId="{3CB78CAB-CC40-470A-AABB-BFEFFF016C55}" destId="{17B0E5B5-E0CF-46C9-99E7-13714D37FC27}" srcOrd="0" destOrd="0" parTransId="{592F936F-5AE0-48E7-8D5F-467E2DB55042}" sibTransId="{CED18BDF-E866-48D5-919B-153F159F2A82}"/>
    <dgm:cxn modelId="{DDE7F22D-3727-427E-A8D3-0451B4B7E04B}" type="presOf" srcId="{17B0E5B5-E0CF-46C9-99E7-13714D37FC27}" destId="{6226C686-BCD8-4A11-9CAD-19F6E04FECBB}" srcOrd="0" destOrd="0" presId="urn:microsoft.com/office/officeart/2005/8/layout/vList5"/>
    <dgm:cxn modelId="{056478E7-EEE8-420B-A466-345F3603B227}" srcId="{7A7966F8-822D-41E3-B7B9-1DD19EBABD83}" destId="{E8F64C38-E178-4A90-BE1E-F8E5945F5970}" srcOrd="0" destOrd="0" parTransId="{58FDCB34-98C5-4009-9693-AE6B0FE2DA1A}" sibTransId="{C13EE644-8CD3-4231-A4D4-C69C91C57386}"/>
    <dgm:cxn modelId="{74B39CE7-4F79-4B75-B748-531BBB499AE4}" type="presOf" srcId="{E8F64C38-E178-4A90-BE1E-F8E5945F5970}" destId="{2CAE6E97-02DA-48E2-8CE3-4990010EDA51}" srcOrd="0" destOrd="0" presId="urn:microsoft.com/office/officeart/2005/8/layout/vList5"/>
    <dgm:cxn modelId="{76187E5D-02AB-4B18-9180-4A1DFEB12662}" type="presOf" srcId="{29F14A4F-0269-478C-86EB-88D3E577B9F1}" destId="{99C972B1-6FFF-4140-B48B-4602C0BEE743}" srcOrd="0" destOrd="0" presId="urn:microsoft.com/office/officeart/2005/8/layout/vList5"/>
    <dgm:cxn modelId="{384C162C-5577-42DE-9EBC-275D073F63D6}" type="presOf" srcId="{C85B6833-D6BD-40DC-97A0-18BE4B22BAFB}" destId="{51443E70-E99D-43A2-A042-73CFB527A645}" srcOrd="0" destOrd="0" presId="urn:microsoft.com/office/officeart/2005/8/layout/vList5"/>
    <dgm:cxn modelId="{DF3D1BCC-A9AF-479B-8B0A-BB2A3B51A393}" srcId="{29F14A4F-0269-478C-86EB-88D3E577B9F1}" destId="{C4490EC0-B995-49EC-ACAE-DCB33BB325CF}" srcOrd="0" destOrd="0" parTransId="{031F4E60-FFF2-40E8-813B-094BD0AA1030}" sibTransId="{0D2DA8DA-B9E7-4E6F-A2A0-F22C1CB344D3}"/>
    <dgm:cxn modelId="{3761AB7E-7B44-457A-90FB-A0F0496F2B9A}" srcId="{E8F64C38-E178-4A90-BE1E-F8E5945F5970}" destId="{C85B6833-D6BD-40DC-97A0-18BE4B22BAFB}" srcOrd="0" destOrd="0" parTransId="{F2378F70-A71F-47EE-AFB3-AF5323F18878}" sibTransId="{A97175EF-0380-4D7A-938F-BBC39BD301F7}"/>
    <dgm:cxn modelId="{703E1073-ADEE-4231-9F92-8D15B22FF6FE}" type="presOf" srcId="{C4490EC0-B995-49EC-ACAE-DCB33BB325CF}" destId="{93480BA7-7C4C-45B9-B31E-857A2AA317BE}" srcOrd="0" destOrd="0" presId="urn:microsoft.com/office/officeart/2005/8/layout/vList5"/>
    <dgm:cxn modelId="{1A50968F-BAA6-4D90-911C-A65500E83853}" srcId="{7A7966F8-822D-41E3-B7B9-1DD19EBABD83}" destId="{29F14A4F-0269-478C-86EB-88D3E577B9F1}" srcOrd="2" destOrd="0" parTransId="{0EF0F732-173A-4090-8EE1-746C06EEF479}" sibTransId="{63711084-8A8B-4A0C-BA85-2B2E6FB0DA3B}"/>
    <dgm:cxn modelId="{39B51E06-9E4B-4A58-8BBD-15CC5D258E47}" srcId="{7A7966F8-822D-41E3-B7B9-1DD19EBABD83}" destId="{3CB78CAB-CC40-470A-AABB-BFEFFF016C55}" srcOrd="1" destOrd="0" parTransId="{333A6423-FA2C-4FB4-BE11-D253D0CA97C1}" sibTransId="{2D0B7EC2-DE42-4E95-8F24-CBFF1F2D3F8A}"/>
    <dgm:cxn modelId="{98A27029-48C0-4484-858D-F92F856F9670}" type="presParOf" srcId="{200A3319-69A2-4BC0-9758-4D669E47BE75}" destId="{D188A125-1415-4360-A5E6-BFE1BB478FCC}" srcOrd="0" destOrd="0" presId="urn:microsoft.com/office/officeart/2005/8/layout/vList5"/>
    <dgm:cxn modelId="{156A73A6-24B7-4B89-85E1-C99DB14CC1F6}" type="presParOf" srcId="{D188A125-1415-4360-A5E6-BFE1BB478FCC}" destId="{2CAE6E97-02DA-48E2-8CE3-4990010EDA51}" srcOrd="0" destOrd="0" presId="urn:microsoft.com/office/officeart/2005/8/layout/vList5"/>
    <dgm:cxn modelId="{B194E4A6-080C-4151-9286-714F886C04B1}" type="presParOf" srcId="{D188A125-1415-4360-A5E6-BFE1BB478FCC}" destId="{51443E70-E99D-43A2-A042-73CFB527A645}" srcOrd="1" destOrd="0" presId="urn:microsoft.com/office/officeart/2005/8/layout/vList5"/>
    <dgm:cxn modelId="{A0121E4F-E1B6-4EAD-A634-4F5950B0B116}" type="presParOf" srcId="{200A3319-69A2-4BC0-9758-4D669E47BE75}" destId="{D661BD18-DD87-4D4B-BA65-AACB02F68120}" srcOrd="1" destOrd="0" presId="urn:microsoft.com/office/officeart/2005/8/layout/vList5"/>
    <dgm:cxn modelId="{DAD45B48-2E43-4D2A-96A4-5FA5571E48FF}" type="presParOf" srcId="{200A3319-69A2-4BC0-9758-4D669E47BE75}" destId="{C06DEE8E-79C9-49DB-BF18-DEE6500B3005}" srcOrd="2" destOrd="0" presId="urn:microsoft.com/office/officeart/2005/8/layout/vList5"/>
    <dgm:cxn modelId="{24D51517-278A-44CE-995B-A53F0B48584F}" type="presParOf" srcId="{C06DEE8E-79C9-49DB-BF18-DEE6500B3005}" destId="{C55FAC14-47DA-4C38-8BB6-793219F789D5}" srcOrd="0" destOrd="0" presId="urn:microsoft.com/office/officeart/2005/8/layout/vList5"/>
    <dgm:cxn modelId="{F6F136D4-61DA-4FBD-A620-B4FD8D031279}" type="presParOf" srcId="{C06DEE8E-79C9-49DB-BF18-DEE6500B3005}" destId="{6226C686-BCD8-4A11-9CAD-19F6E04FECBB}" srcOrd="1" destOrd="0" presId="urn:microsoft.com/office/officeart/2005/8/layout/vList5"/>
    <dgm:cxn modelId="{94B3D6AC-2BD0-4566-ABCF-F91404DD7B63}" type="presParOf" srcId="{200A3319-69A2-4BC0-9758-4D669E47BE75}" destId="{566F0B3A-FEEF-4DA9-85E4-F408BBF9B6A0}" srcOrd="3" destOrd="0" presId="urn:microsoft.com/office/officeart/2005/8/layout/vList5"/>
    <dgm:cxn modelId="{AB24BABA-F834-4EBC-8E87-AD714C2959F5}" type="presParOf" srcId="{200A3319-69A2-4BC0-9758-4D669E47BE75}" destId="{9AA15307-B20B-4E80-B2A6-B2E5902D5F10}" srcOrd="4" destOrd="0" presId="urn:microsoft.com/office/officeart/2005/8/layout/vList5"/>
    <dgm:cxn modelId="{247B37D3-1040-4A38-B504-07196BBDB013}" type="presParOf" srcId="{9AA15307-B20B-4E80-B2A6-B2E5902D5F10}" destId="{99C972B1-6FFF-4140-B48B-4602C0BEE743}" srcOrd="0" destOrd="0" presId="urn:microsoft.com/office/officeart/2005/8/layout/vList5"/>
    <dgm:cxn modelId="{F86BD3AE-F73C-4CDF-BCD5-E9E2DB4542D9}" type="presParOf" srcId="{9AA15307-B20B-4E80-B2A6-B2E5902D5F10}" destId="{93480BA7-7C4C-45B9-B31E-857A2AA317B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5F1600-64E3-480E-999F-9833699E2B6F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4DB746-56D1-4580-9E71-CC8B9A2C00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941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introduce ourselves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EEE379-3279-426D-B044-52D61C35C48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243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view Common Board</a:t>
            </a:r>
            <a:r>
              <a:rPr lang="en-US" baseline="0" dirty="0" smtClean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2DEC2A-12B0-4FD7-A39B-4CF69C43FEB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678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DB746-56D1-4580-9E71-CC8B9A2C00F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719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D5BC6-7BE7-4C43-8A1D-490FB3425D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53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08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chnical Challenges (Class Size, Personalized Learning) versus</a:t>
            </a:r>
            <a:r>
              <a:rPr lang="en-US" baseline="0" dirty="0" smtClean="0"/>
              <a:t> Adaptive Challenges (Changing the work – old way to the new wa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2162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796F01-7154-41E0-B48B-A6921757531A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673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DB746-56D1-4580-9E71-CC8B9A2C00F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370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view Common Board</a:t>
            </a:r>
            <a:r>
              <a:rPr lang="en-US" baseline="0" dirty="0" smtClean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2DEC2A-12B0-4FD7-A39B-4CF69C43FEB7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6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09944" y="851449"/>
            <a:ext cx="9729027" cy="141278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3000" b="1" cap="none" baseline="0">
                <a:solidFill>
                  <a:srgbClr val="46637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D7D9DA"/>
              </a:clrFrom>
              <a:clrTo>
                <a:srgbClr val="D7D9D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1892" y="2386504"/>
            <a:ext cx="5544588" cy="4120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57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12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31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3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7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2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098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73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80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20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73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6637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63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79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46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72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72374-8EDE-4CD4-96FE-536B1BFAD420}" type="datetimeFigureOut">
              <a:rPr lang="en-US" smtClean="0"/>
              <a:t>9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86BD-43E8-4BC1-A0EF-EB3316C9B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1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97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08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-209550" y="1609725"/>
            <a:ext cx="12496800" cy="4489450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endParaRPr lang="id-ID" noProof="0">
              <a:sym typeface="Gill Sans"/>
            </a:endParaRP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377950" y="2165350"/>
            <a:ext cx="4025900" cy="2298700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id-ID" noProof="0">
              <a:sym typeface="Gill Sans"/>
            </a:endParaRP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972050" y="3854450"/>
            <a:ext cx="1200150" cy="1587500"/>
          </a:xfrm>
          <a:prstGeom prst="rect">
            <a:avLst/>
          </a:prstGeom>
        </p:spPr>
        <p:txBody>
          <a:bodyPr/>
          <a:lstStyle>
            <a:lvl1pPr marL="15875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id-ID" noProof="0"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52510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6637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238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873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906713"/>
            <a:ext cx="109728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fld id="{4360100C-1C53-3B47-B181-F4C65B4C4226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4515668"/>
            <a:ext cx="10972800" cy="1143000"/>
          </a:xfrm>
        </p:spPr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5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0475" y="1508760"/>
            <a:ext cx="11029033" cy="4617720"/>
          </a:xfrm>
        </p:spPr>
        <p:txBody>
          <a:bodyPr lIns="0" tIns="0" rIns="0" bIns="0"/>
          <a:lstStyle>
            <a:lvl1pPr marL="0" indent="-173736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3888" indent="-217488">
              <a:buFont typeface="Arial" pitchFamily="34" charset="0"/>
              <a:buChar char="–"/>
              <a:defRPr/>
            </a:lvl2pPr>
            <a:lvl3pPr marL="108108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1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32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39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2" y="6459787"/>
            <a:ext cx="2472270" cy="365125"/>
          </a:xfrm>
          <a:prstGeom prst="rect">
            <a:avLst/>
          </a:prstGeom>
        </p:spPr>
        <p:txBody>
          <a:bodyPr/>
          <a:lstStyle/>
          <a:p>
            <a:fld id="{6064B9B6-5AC0-4E87-9DFD-F1699114B319}" type="datetime1">
              <a:rPr lang="en-US">
                <a:solidFill>
                  <a:srgbClr val="000000"/>
                </a:solidFill>
              </a:rPr>
              <a:pPr/>
              <a:t>9/23/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86185" y="6459787"/>
            <a:ext cx="4822804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00458" y="6459787"/>
            <a:ext cx="1312026" cy="365125"/>
          </a:xfrm>
          <a:prstGeom prst="rect">
            <a:avLst/>
          </a:prstGeom>
        </p:spPr>
        <p:txBody>
          <a:bodyPr/>
          <a:lstStyle/>
          <a:p>
            <a:fld id="{6604F2DB-6915-4564-A014-CF635B4B5AA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74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5345" y="2011680"/>
            <a:ext cx="4754880" cy="4206240"/>
          </a:xfrm>
        </p:spPr>
        <p:txBody>
          <a:bodyPr/>
          <a:lstStyle>
            <a:lvl1pPr>
              <a:defRPr sz="1733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  <a:lvl6pPr>
              <a:defRPr sz="1260"/>
            </a:lvl6pPr>
            <a:lvl7pPr>
              <a:defRPr sz="1260"/>
            </a:lvl7pPr>
            <a:lvl8pPr>
              <a:defRPr sz="1260"/>
            </a:lvl8pPr>
            <a:lvl9pPr>
              <a:defRPr sz="126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392" y="2011680"/>
            <a:ext cx="4754880" cy="4206240"/>
          </a:xfrm>
        </p:spPr>
        <p:txBody>
          <a:bodyPr/>
          <a:lstStyle>
            <a:lvl1pPr>
              <a:defRPr sz="1733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  <a:lvl6pPr>
              <a:defRPr sz="1260"/>
            </a:lvl6pPr>
            <a:lvl7pPr>
              <a:defRPr sz="1260"/>
            </a:lvl7pPr>
            <a:lvl8pPr>
              <a:defRPr sz="1260"/>
            </a:lvl8pPr>
            <a:lvl9pPr>
              <a:defRPr sz="126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02267" y="6422856"/>
            <a:ext cx="3000894" cy="365125"/>
          </a:xfrm>
          <a:prstGeom prst="rect">
            <a:avLst/>
          </a:prstGeom>
        </p:spPr>
        <p:txBody>
          <a:bodyPr/>
          <a:lstStyle/>
          <a:p>
            <a:fld id="{96DFF08F-DC6B-4601-B491-B0F83F6DD2DA}" type="datetimeFigureOut">
              <a:rPr lang="en-US">
                <a:solidFill>
                  <a:prstClr val="white"/>
                </a:solidFill>
              </a:rPr>
              <a:pPr/>
              <a:t>9/23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596471" y="6422856"/>
            <a:ext cx="504444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58926" y="6422856"/>
            <a:ext cx="946264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0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02267" y="6422856"/>
            <a:ext cx="3000894" cy="365125"/>
          </a:xfrm>
          <a:prstGeom prst="rect">
            <a:avLst/>
          </a:prstGeom>
        </p:spPr>
        <p:txBody>
          <a:bodyPr/>
          <a:lstStyle/>
          <a:p>
            <a:fld id="{96DFF08F-DC6B-4601-B491-B0F83F6DD2DA}" type="datetimeFigureOut">
              <a:rPr lang="en-US">
                <a:solidFill>
                  <a:prstClr val="white"/>
                </a:solidFill>
              </a:rPr>
              <a:pPr/>
              <a:t>9/23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596471" y="6422856"/>
            <a:ext cx="5044441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58926" y="6422856"/>
            <a:ext cx="946264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71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FA472-8C71-488D-96DF-3F9B021112F3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/23/20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82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015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5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0475" y="162000"/>
            <a:ext cx="11033604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0475" y="1508400"/>
            <a:ext cx="11033604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Simple"/>
          <p:cNvSpPr/>
          <p:nvPr/>
        </p:nvSpPr>
        <p:spPr>
          <a:xfrm>
            <a:off x="580476" y="6699600"/>
            <a:ext cx="81815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52528" y="6675838"/>
            <a:ext cx="26612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8FDC6993-5875-43F1-AB5B-56FAFD3221C9}" type="slidenum">
              <a:rPr lang="en-US" sz="90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" name="Line 78"/>
          <p:cNvSpPr>
            <a:spLocks noChangeShapeType="1"/>
          </p:cNvSpPr>
          <p:nvPr/>
        </p:nvSpPr>
        <p:spPr bwMode="auto">
          <a:xfrm flipH="1">
            <a:off x="0" y="1003300"/>
            <a:ext cx="12189984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D7D9DA"/>
              </a:clrFrom>
              <a:clrTo>
                <a:srgbClr val="D7D9D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5513" y="5878286"/>
            <a:ext cx="1013109" cy="752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545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</p:sldLayoutIdLst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46637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rgbClr val="000000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9/2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74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672" r:id="rId20"/>
  </p:sldLayoutIdLst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31058" y="2209287"/>
            <a:ext cx="11775258" cy="1373070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dirty="0" smtClean="0">
                <a:latin typeface="Maiandra GD" panose="020E0502030308020204" pitchFamily="34" charset="0"/>
              </a:rPr>
              <a:t/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/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sz="5400" dirty="0" smtClean="0">
                <a:latin typeface="Maiandra GD" panose="020E0502030308020204" pitchFamily="34" charset="0"/>
              </a:rPr>
              <a:t>The Planning Period </a:t>
            </a:r>
            <a:br>
              <a:rPr lang="en-US" sz="5400" dirty="0" smtClean="0">
                <a:latin typeface="Maiandra GD" panose="020E0502030308020204" pitchFamily="34" charset="0"/>
              </a:rPr>
            </a:br>
            <a:r>
              <a:rPr lang="en-US" sz="5400" dirty="0">
                <a:latin typeface="Maiandra GD" panose="020E0502030308020204" pitchFamily="34" charset="0"/>
              </a:rPr>
              <a:t> </a:t>
            </a:r>
            <a:r>
              <a:rPr lang="en-US" sz="5400" dirty="0" smtClean="0">
                <a:latin typeface="Maiandra GD" panose="020E0502030308020204" pitchFamily="34" charset="0"/>
              </a:rPr>
              <a:t>                               and Beyond…  </a:t>
            </a:r>
            <a:endParaRPr lang="en-US" sz="5000" dirty="0">
              <a:latin typeface="Maiandra GD" panose="020E0502030308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85924" y="5183478"/>
            <a:ext cx="7357370" cy="1541172"/>
          </a:xfrm>
        </p:spPr>
        <p:txBody>
          <a:bodyPr>
            <a:normAutofit/>
          </a:bodyPr>
          <a:lstStyle/>
          <a:p>
            <a:r>
              <a:rPr lang="en-US" sz="2200" dirty="0">
                <a:solidFill>
                  <a:schemeClr val="tx1"/>
                </a:solidFill>
                <a:latin typeface="Maiandra GD" panose="020E0502030308020204" pitchFamily="34" charset="0"/>
              </a:rPr>
              <a:t>Seth Edwards, iPD Design Expert </a:t>
            </a:r>
          </a:p>
          <a:p>
            <a:r>
              <a:rPr lang="en-US" sz="2200" dirty="0">
                <a:solidFill>
                  <a:schemeClr val="tx1"/>
                </a:solidFill>
                <a:latin typeface="Maiandra GD" panose="020E0502030308020204" pitchFamily="34" charset="0"/>
              </a:rPr>
              <a:t>Andrea Pyatt, iPD Facilitator</a:t>
            </a:r>
          </a:p>
          <a:p>
            <a:r>
              <a:rPr lang="en-US" sz="2200" dirty="0" smtClean="0">
                <a:solidFill>
                  <a:schemeClr val="tx1"/>
                </a:solidFill>
                <a:latin typeface="Maiandra GD" panose="020E0502030308020204" pitchFamily="34" charset="0"/>
              </a:rPr>
              <a:t>Amy Cockcroft, Director of Professional Development</a:t>
            </a:r>
          </a:p>
        </p:txBody>
      </p:sp>
      <p:pic>
        <p:nvPicPr>
          <p:cNvPr id="4098" name="Picture 2" descr="Image result for space the final frontier star tre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5565" y="148490"/>
            <a:ext cx="2747729" cy="2060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0957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403942" y="695546"/>
            <a:ext cx="9721258" cy="5114259"/>
            <a:chOff x="1067956" y="695548"/>
            <a:chExt cx="10788058" cy="5114259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8" name="Rounded Rectangle 7"/>
            <p:cNvSpPr/>
            <p:nvPr/>
          </p:nvSpPr>
          <p:spPr>
            <a:xfrm>
              <a:off x="1067956" y="1310640"/>
              <a:ext cx="1659282" cy="3743129"/>
            </a:xfrm>
            <a:prstGeom prst="roundRect">
              <a:avLst/>
            </a:prstGeom>
            <a:grpFill/>
            <a:ln cap="rnd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prstClr val="white"/>
                  </a:solidFill>
                </a:rPr>
                <a:t>innovative </a:t>
              </a:r>
            </a:p>
            <a:p>
              <a:pPr algn="ctr"/>
              <a:r>
                <a:rPr lang="en-US" sz="1600" dirty="0">
                  <a:solidFill>
                    <a:prstClr val="white"/>
                  </a:solidFill>
                </a:rPr>
                <a:t>Professional </a:t>
              </a:r>
            </a:p>
            <a:p>
              <a:pPr algn="ctr"/>
              <a:r>
                <a:rPr lang="en-US" sz="1600" dirty="0">
                  <a:solidFill>
                    <a:prstClr val="white"/>
                  </a:solidFill>
                </a:rPr>
                <a:t>Development</a:t>
              </a:r>
            </a:p>
          </p:txBody>
        </p:sp>
        <p:sp>
          <p:nvSpPr>
            <p:cNvPr id="9" name="Right Arrow 8"/>
            <p:cNvSpPr/>
            <p:nvPr/>
          </p:nvSpPr>
          <p:spPr>
            <a:xfrm>
              <a:off x="3028279" y="2760799"/>
              <a:ext cx="1459315" cy="721360"/>
            </a:xfrm>
            <a:prstGeom prst="rightArrow">
              <a:avLst/>
            </a:pr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9752186" y="695548"/>
              <a:ext cx="2103828" cy="5114259"/>
            </a:xfrm>
            <a:prstGeom prst="roundRect">
              <a:avLst/>
            </a:prstGeom>
            <a:grpFill/>
            <a:ln cap="rnd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prstClr val="white"/>
                  </a:solidFill>
                </a:rPr>
                <a:t>Quality Time for Teachers </a:t>
              </a:r>
            </a:p>
            <a:p>
              <a:pPr algn="ctr"/>
              <a:endParaRPr lang="en-US" sz="24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en-US" sz="2400" dirty="0" smtClean="0">
                  <a:solidFill>
                    <a:prstClr val="white"/>
                  </a:solidFill>
                </a:rPr>
                <a:t>Quality Time for Students</a:t>
              </a:r>
            </a:p>
            <a:p>
              <a:pPr algn="ctr"/>
              <a:endParaRPr lang="en-US" sz="24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en-US" sz="2000" dirty="0" smtClean="0">
                  <a:solidFill>
                    <a:prstClr val="white"/>
                  </a:solidFill>
                </a:rPr>
                <a:t>Sustainability </a:t>
              </a:r>
            </a:p>
            <a:p>
              <a:pPr algn="ctr"/>
              <a:r>
                <a:rPr lang="en-US" sz="2000" dirty="0" smtClean="0">
                  <a:solidFill>
                    <a:prstClr val="white"/>
                  </a:solidFill>
                </a:rPr>
                <a:t>of Systems </a:t>
              </a:r>
              <a:endParaRPr lang="en-US" sz="2000" dirty="0">
                <a:solidFill>
                  <a:prstClr val="white"/>
                </a:solidFill>
              </a:endParaRPr>
            </a:p>
          </p:txBody>
        </p:sp>
        <p:sp>
          <p:nvSpPr>
            <p:cNvPr id="11" name="Right Arrow 10"/>
            <p:cNvSpPr/>
            <p:nvPr/>
          </p:nvSpPr>
          <p:spPr>
            <a:xfrm>
              <a:off x="7991830" y="2760799"/>
              <a:ext cx="1459315" cy="721360"/>
            </a:xfrm>
            <a:prstGeom prst="rightArrow">
              <a:avLst/>
            </a:pr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557667873"/>
              </p:ext>
            </p:extLst>
          </p:nvPr>
        </p:nvGraphicFramePr>
        <p:xfrm>
          <a:off x="2197708" y="442180"/>
          <a:ext cx="7930453" cy="56209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2798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1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682240" y="1752600"/>
            <a:ext cx="7208520" cy="3511190"/>
            <a:chOff x="2537744" y="2813"/>
            <a:chExt cx="2854963" cy="1353100"/>
          </a:xfrm>
          <a:scene3d>
            <a:camera prst="orthographicFront"/>
            <a:lightRig rig="flat" dir="t"/>
          </a:scene3d>
        </p:grpSpPr>
        <p:sp>
          <p:nvSpPr>
            <p:cNvPr id="6" name="Rounded Rectangle 5"/>
            <p:cNvSpPr/>
            <p:nvPr/>
          </p:nvSpPr>
          <p:spPr>
            <a:xfrm>
              <a:off x="2537744" y="2813"/>
              <a:ext cx="2854963" cy="135310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7" name="Rounded Rectangle 4"/>
            <p:cNvSpPr/>
            <p:nvPr/>
          </p:nvSpPr>
          <p:spPr>
            <a:xfrm>
              <a:off x="2579995" y="55670"/>
              <a:ext cx="2746659" cy="123419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>
                  <a:latin typeface="Maiandra GD" panose="020E0502030308020204" pitchFamily="34" charset="0"/>
                </a:rPr>
                <a:t>Ensure all teachers have ample time within the school day for collaboration (without sacrificing quality student learning) focused on core instructional work</a:t>
              </a:r>
              <a:endParaRPr lang="en-US" sz="3200" kern="1200" dirty="0">
                <a:latin typeface="Maiandra GD" panose="020E0502030308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331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1471" y="271122"/>
            <a:ext cx="10018713" cy="1752599"/>
          </a:xfrm>
        </p:spPr>
        <p:txBody>
          <a:bodyPr/>
          <a:lstStyle/>
          <a:p>
            <a:pPr algn="l"/>
            <a:r>
              <a:rPr lang="en-US" dirty="0" smtClean="0">
                <a:solidFill>
                  <a:schemeClr val="tx1"/>
                </a:solidFill>
                <a:latin typeface="Maiandra GD" panose="020E0502030308020204" pitchFamily="34" charset="0"/>
              </a:rPr>
              <a:t>Creating the Conditions </a:t>
            </a:r>
            <a:endParaRPr lang="en-US" dirty="0">
              <a:solidFill>
                <a:schemeClr val="tx1"/>
              </a:solidFill>
              <a:latin typeface="Maiandra GD" panose="020E0502030308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9869048"/>
              </p:ext>
            </p:extLst>
          </p:nvPr>
        </p:nvGraphicFramePr>
        <p:xfrm>
          <a:off x="2741952" y="1764641"/>
          <a:ext cx="8761072" cy="455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7750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6264" y="1057252"/>
            <a:ext cx="2725937" cy="4601183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chemeClr val="tx1"/>
                </a:solidFill>
                <a:latin typeface="Maiandra GD" panose="020E0502030308020204" pitchFamily="34" charset="0"/>
              </a:rPr>
              <a:t>School Autonomy</a:t>
            </a:r>
            <a:endParaRPr lang="en-US" sz="3600" dirty="0">
              <a:solidFill>
                <a:schemeClr val="tx1"/>
              </a:solidFill>
              <a:latin typeface="Maiandra GD" panose="020E0502030308020204" pitchFamily="34" charset="0"/>
            </a:endParaRPr>
          </a:p>
        </p:txBody>
      </p:sp>
      <p:sp>
        <p:nvSpPr>
          <p:cNvPr id="5" name="Isosceles Triangle 4"/>
          <p:cNvSpPr/>
          <p:nvPr/>
        </p:nvSpPr>
        <p:spPr>
          <a:xfrm>
            <a:off x="4434640" y="846663"/>
            <a:ext cx="4475787" cy="5306127"/>
          </a:xfrm>
          <a:prstGeom prst="triangle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5487372" y="2342669"/>
            <a:ext cx="2830616" cy="61915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alpha val="90000"/>
              <a:hueOff val="0"/>
              <a:satOff val="0"/>
              <a:lumOff val="0"/>
              <a:alphaOff val="-1000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0" name="Rounded Rectangle 4"/>
          <p:cNvSpPr/>
          <p:nvPr/>
        </p:nvSpPr>
        <p:spPr>
          <a:xfrm>
            <a:off x="5471585" y="2429989"/>
            <a:ext cx="2675448" cy="4868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7160" tIns="137160" rIns="137160" bIns="137160" numCol="1" spcCol="1270" anchor="ctr" anchorCtr="0">
            <a:noAutofit/>
          </a:bodyPr>
          <a:lstStyle/>
          <a:p>
            <a:pPr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Inconsistent annual instructional time</a:t>
            </a:r>
          </a:p>
        </p:txBody>
      </p:sp>
      <p:sp>
        <p:nvSpPr>
          <p:cNvPr id="18" name="Rounded Rectangle 4"/>
          <p:cNvSpPr/>
          <p:nvPr/>
        </p:nvSpPr>
        <p:spPr>
          <a:xfrm>
            <a:off x="6225202" y="3357844"/>
            <a:ext cx="2672181" cy="4117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Inconsistent common planning time 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894787" y="4132812"/>
            <a:ext cx="2730496" cy="4562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alpha val="90000"/>
              <a:hueOff val="0"/>
              <a:satOff val="0"/>
              <a:lumOff val="0"/>
              <a:alphaOff val="-2000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Rounded Rectangle 4"/>
          <p:cNvSpPr/>
          <p:nvPr/>
        </p:nvSpPr>
        <p:spPr>
          <a:xfrm>
            <a:off x="6883400" y="4142158"/>
            <a:ext cx="2672180" cy="5026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Master schedules varied by school 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830796" y="1635037"/>
            <a:ext cx="2730496" cy="4562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alpha val="90000"/>
              <a:hueOff val="0"/>
              <a:satOff val="0"/>
              <a:lumOff val="0"/>
              <a:alphaOff val="-2000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4" name="Rounded Rectangle 4"/>
          <p:cNvSpPr/>
          <p:nvPr/>
        </p:nvSpPr>
        <p:spPr>
          <a:xfrm>
            <a:off x="4889112" y="1657311"/>
            <a:ext cx="2672181" cy="4117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Standards-Based Instruction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7408795" y="4900995"/>
            <a:ext cx="2730496" cy="4562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alpha val="90000"/>
              <a:hueOff val="0"/>
              <a:satOff val="0"/>
              <a:lumOff val="0"/>
              <a:alphaOff val="-2000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2" name="Rounded Rectangle 4"/>
          <p:cNvSpPr/>
          <p:nvPr/>
        </p:nvSpPr>
        <p:spPr>
          <a:xfrm>
            <a:off x="7437953" y="4923269"/>
            <a:ext cx="2672181" cy="4117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390" tIns="72390" rIns="72390" bIns="72390" numCol="1" spcCol="1270" anchor="ctr" anchorCtr="0">
            <a:noAutofit/>
          </a:bodyPr>
          <a:lstStyle/>
          <a:p>
            <a:pPr algn="ctr" defTabSz="844550">
              <a:spcBef>
                <a:spcPct val="0"/>
              </a:spcBef>
            </a:pP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Collaborative time varied </a:t>
            </a:r>
            <a:endParaRPr lang="en-US" sz="1600" spc="-53" dirty="0" smtClean="0">
              <a:latin typeface="Maiandra GD" panose="020E0502030308020204" pitchFamily="34" charset="0"/>
              <a:ea typeface="Open Sans"/>
              <a:cs typeface="Open Sans"/>
              <a:sym typeface="Open Sans"/>
            </a:endParaRPr>
          </a:p>
          <a:p>
            <a:pPr algn="ctr" defTabSz="844550">
              <a:spcBef>
                <a:spcPct val="0"/>
              </a:spcBef>
            </a:pPr>
            <a:r>
              <a:rPr lang="en-US" sz="1600" spc="-53" dirty="0" smtClean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per </a:t>
            </a:r>
            <a:r>
              <a:rPr lang="en-US" sz="1600" spc="-53" dirty="0">
                <a:latin typeface="Maiandra GD" panose="020E0502030308020204" pitchFamily="34" charset="0"/>
                <a:ea typeface="Open Sans"/>
                <a:cs typeface="Open Sans"/>
                <a:sym typeface="Open Sans"/>
              </a:rPr>
              <a:t>school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992111" y="849785"/>
            <a:ext cx="1661886" cy="674200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3200" b="1" dirty="0">
                <a:latin typeface="Maiandra GD" panose="020E0502030308020204" pitchFamily="34" charset="0"/>
                <a:cs typeface="Arial" pitchFamily="34" charset="0"/>
              </a:rPr>
              <a:t>Tigh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939584" y="5527688"/>
            <a:ext cx="1661886" cy="674200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3200" b="1" dirty="0">
                <a:latin typeface="Maiandra GD" panose="020E0502030308020204" pitchFamily="34" charset="0"/>
                <a:cs typeface="Arial" pitchFamily="34" charset="0"/>
              </a:rPr>
              <a:t>Loose</a:t>
            </a:r>
          </a:p>
        </p:txBody>
      </p:sp>
    </p:spTree>
    <p:extLst>
      <p:ext uri="{BB962C8B-B14F-4D97-AF65-F5344CB8AC3E}">
        <p14:creationId xmlns:p14="http://schemas.microsoft.com/office/powerpoint/2010/main" val="187106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1476" y="110185"/>
            <a:ext cx="3621089" cy="1341119"/>
          </a:xfrm>
        </p:spPr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Gallery Walk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7631" y="1523098"/>
            <a:ext cx="7248781" cy="470915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 smtClean="0"/>
              <a:t>Visit the 4 School Models displayed around the room. 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dirty="0" smtClean="0"/>
              <a:t>While </a:t>
            </a:r>
            <a:r>
              <a:rPr lang="en-US" dirty="0"/>
              <a:t>Gallery </a:t>
            </a:r>
            <a:r>
              <a:rPr lang="en-US" dirty="0" smtClean="0"/>
              <a:t>Walking: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C</a:t>
            </a:r>
            <a:r>
              <a:rPr lang="en-US" dirty="0" smtClean="0"/>
              <a:t>onsider </a:t>
            </a:r>
            <a:r>
              <a:rPr lang="en-US" dirty="0"/>
              <a:t>each schools’ model to gain perspective on different plans, </a:t>
            </a:r>
            <a:r>
              <a:rPr lang="en-US" dirty="0" smtClean="0"/>
              <a:t>strategies, use </a:t>
            </a:r>
            <a:r>
              <a:rPr lang="en-US" dirty="0"/>
              <a:t>of </a:t>
            </a:r>
            <a:r>
              <a:rPr lang="en-US" dirty="0" smtClean="0"/>
              <a:t>resources, successes and challenges…  </a:t>
            </a:r>
            <a:endParaRPr lang="en-US" dirty="0"/>
          </a:p>
          <a:p>
            <a:pPr>
              <a:lnSpc>
                <a:spcPct val="150000"/>
              </a:lnSpc>
            </a:pPr>
            <a:r>
              <a:rPr lang="en-US" dirty="0"/>
              <a:t>…  keeping in mind what </a:t>
            </a:r>
            <a:r>
              <a:rPr lang="en-US" dirty="0" smtClean="0"/>
              <a:t>could </a:t>
            </a:r>
            <a:r>
              <a:rPr lang="en-US" i="1" dirty="0" smtClean="0"/>
              <a:t>you</a:t>
            </a:r>
            <a:r>
              <a:rPr lang="en-US" dirty="0" smtClean="0"/>
              <a:t> do?</a:t>
            </a:r>
          </a:p>
          <a:p>
            <a:pPr>
              <a:lnSpc>
                <a:spcPct val="150000"/>
              </a:lnSpc>
            </a:pPr>
            <a:r>
              <a:rPr lang="en-US" b="1" dirty="0" smtClean="0"/>
              <a:t>Use post-it notes to post questions or insights</a:t>
            </a:r>
            <a:r>
              <a:rPr lang="en-US" dirty="0" smtClean="0"/>
              <a:t>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4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3092" y="110185"/>
            <a:ext cx="3325226" cy="315117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8640" y="4538322"/>
            <a:ext cx="1785105" cy="178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18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3154680"/>
            <a:ext cx="2316153" cy="175259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Model A</a:t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/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>“Spartan Middle School”</a:t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>
                <a:latin typeface="Maiandra GD" panose="020E0502030308020204" pitchFamily="34" charset="0"/>
              </a:rPr>
              <a:t/>
            </a:r>
            <a:br>
              <a:rPr lang="en-US" dirty="0">
                <a:latin typeface="Maiandra GD" panose="020E0502030308020204" pitchFamily="34" charset="0"/>
              </a:rPr>
            </a:b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5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760" y="192798"/>
            <a:ext cx="6400800" cy="666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9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271" y="2225040"/>
            <a:ext cx="2203769" cy="175259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Model B</a:t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>
                <a:latin typeface="Maiandra GD" panose="020E0502030308020204" pitchFamily="34" charset="0"/>
              </a:rPr>
              <a:t/>
            </a:r>
            <a:br>
              <a:rPr lang="en-US" dirty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>“McCue Middle School”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6720" y="180620"/>
            <a:ext cx="6355080" cy="6555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09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344" y="2240280"/>
            <a:ext cx="2560320" cy="2499360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Model C</a:t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>
                <a:latin typeface="Maiandra GD" panose="020E0502030308020204" pitchFamily="34" charset="0"/>
              </a:rPr>
              <a:t/>
            </a:r>
            <a:br>
              <a:rPr lang="en-US" dirty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>The Consortium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7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4645" y="341395"/>
            <a:ext cx="6592875" cy="629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32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271" y="2225040"/>
            <a:ext cx="2203769" cy="1752599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Model D</a:t>
            </a:r>
            <a:br>
              <a:rPr lang="en-US" dirty="0" smtClean="0">
                <a:latin typeface="Maiandra GD" panose="020E0502030308020204" pitchFamily="34" charset="0"/>
              </a:rPr>
            </a:br>
            <a:r>
              <a:rPr lang="en-US" dirty="0">
                <a:latin typeface="Maiandra GD" panose="020E0502030308020204" pitchFamily="34" charset="0"/>
              </a:rPr>
              <a:t/>
            </a:r>
            <a:br>
              <a:rPr lang="en-US" dirty="0">
                <a:latin typeface="Maiandra GD" panose="020E0502030308020204" pitchFamily="34" charset="0"/>
              </a:rPr>
            </a:br>
            <a:r>
              <a:rPr lang="en-US" dirty="0" smtClean="0">
                <a:latin typeface="Maiandra GD" panose="020E0502030308020204" pitchFamily="34" charset="0"/>
              </a:rPr>
              <a:t>“Jacket High”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8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0408" y="0"/>
            <a:ext cx="6210912" cy="668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18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7361" y="807721"/>
            <a:ext cx="5608320" cy="5059410"/>
          </a:xfrm>
        </p:spPr>
        <p:txBody>
          <a:bodyPr>
            <a:noAutofit/>
          </a:bodyPr>
          <a:lstStyle/>
          <a:p>
            <a:r>
              <a:rPr lang="en-US" b="1" dirty="0" smtClean="0"/>
              <a:t>What are other districts doing to find time?</a:t>
            </a:r>
          </a:p>
          <a:p>
            <a:r>
              <a:rPr lang="en-US" b="1" dirty="0" smtClean="0"/>
              <a:t>Do you have examples of creative schedules?</a:t>
            </a:r>
          </a:p>
          <a:p>
            <a:r>
              <a:rPr lang="en-US" b="1" dirty="0" smtClean="0"/>
              <a:t>How are districts creating conditions for job-embedded PD?</a:t>
            </a:r>
          </a:p>
          <a:p>
            <a:r>
              <a:rPr lang="en-US" b="1" dirty="0" smtClean="0"/>
              <a:t>Have other districts tried a top-down approach?</a:t>
            </a:r>
          </a:p>
          <a:p>
            <a:r>
              <a:rPr lang="en-US" b="1" dirty="0" smtClean="0"/>
              <a:t>Who leads the “finding time” work?  Schools?  CAO?  Superintendent?  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8080" y="807721"/>
            <a:ext cx="4499319" cy="4861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81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idx="4294967295"/>
          </p:nvPr>
        </p:nvSpPr>
        <p:spPr>
          <a:xfrm>
            <a:off x="-1200150" y="825068"/>
            <a:ext cx="9601200" cy="609600"/>
          </a:xfrm>
        </p:spPr>
        <p:txBody>
          <a:bodyPr>
            <a:noAutofit/>
          </a:bodyPr>
          <a:lstStyle/>
          <a:p>
            <a:r>
              <a:rPr lang="en-US" sz="3600" dirty="0" smtClean="0">
                <a:latin typeface="Maiandra GD" panose="020E0502030308020204" pitchFamily="34" charset="0"/>
              </a:rPr>
              <a:t>September 20, </a:t>
            </a:r>
            <a:r>
              <a:rPr lang="en-US" sz="3600" dirty="0">
                <a:latin typeface="Maiandra GD" panose="020E0502030308020204" pitchFamily="34" charset="0"/>
              </a:rPr>
              <a:t>2016 </a:t>
            </a:r>
            <a:r>
              <a:rPr lang="en-US" sz="3200" dirty="0">
                <a:latin typeface="Maiandra GD" panose="020E0502030308020204" pitchFamily="34" charset="0"/>
              </a:rPr>
              <a:t/>
            </a:r>
            <a:br>
              <a:rPr lang="en-US" sz="3200" dirty="0">
                <a:latin typeface="Maiandra GD" panose="020E0502030308020204" pitchFamily="34" charset="0"/>
              </a:rPr>
            </a:br>
            <a:endParaRPr lang="en-US" sz="3200" dirty="0">
              <a:latin typeface="Maiandra GD" panose="020E0502030308020204" pitchFamily="34" charset="0"/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100123850"/>
              </p:ext>
            </p:extLst>
          </p:nvPr>
        </p:nvGraphicFramePr>
        <p:xfrm>
          <a:off x="-431941" y="1720418"/>
          <a:ext cx="7004191" cy="4674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6338350" y="133351"/>
            <a:ext cx="5685139" cy="626153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3600" dirty="0">
                <a:solidFill>
                  <a:prstClr val="white"/>
                </a:solidFill>
                <a:latin typeface="Maiandra GD" panose="020E0502030308020204" pitchFamily="34" charset="0"/>
              </a:rPr>
              <a:t>Agenda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Community Builder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Review the Why  </a:t>
            </a:r>
            <a:endParaRPr lang="en-US" sz="2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Explore School Models 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Discuss Quality Time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Surface Lessons Learned  </a:t>
            </a:r>
          </a:p>
          <a:p>
            <a:pPr>
              <a:defRPr/>
            </a:pPr>
            <a:endParaRPr lang="en-US" sz="36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Maiandra GD" panose="020E0502030308020204" pitchFamily="34" charset="0"/>
              </a:rPr>
              <a:t>Next Steps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Find time for job-embedded professional development in your district…      </a:t>
            </a:r>
            <a:endParaRPr lang="en-US" sz="2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algn="ctr">
              <a:defRPr/>
            </a:pPr>
            <a:endParaRPr lang="en-US" sz="1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algn="ctr">
              <a:defRPr/>
            </a:pPr>
            <a:endParaRPr lang="en-US" sz="1400" dirty="0">
              <a:solidFill>
                <a:prstClr val="white"/>
              </a:solidFill>
              <a:latin typeface="Maiandra GD" panose="020E05020303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06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0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682240" y="1752600"/>
            <a:ext cx="7208520" cy="3511190"/>
            <a:chOff x="2537744" y="2813"/>
            <a:chExt cx="2854963" cy="1353100"/>
          </a:xfrm>
          <a:scene3d>
            <a:camera prst="orthographicFront"/>
            <a:lightRig rig="flat" dir="t"/>
          </a:scene3d>
        </p:grpSpPr>
        <p:sp>
          <p:nvSpPr>
            <p:cNvPr id="6" name="Rounded Rectangle 5"/>
            <p:cNvSpPr/>
            <p:nvPr/>
          </p:nvSpPr>
          <p:spPr>
            <a:xfrm>
              <a:off x="2537744" y="2813"/>
              <a:ext cx="2854963" cy="135310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7" name="Rounded Rectangle 4"/>
            <p:cNvSpPr/>
            <p:nvPr/>
          </p:nvSpPr>
          <p:spPr>
            <a:xfrm>
              <a:off x="2579995" y="55670"/>
              <a:ext cx="2746659" cy="123419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dirty="0"/>
                <a:t>Provide multi-modal access to high quality Professional Development content based on teachers’ needs and student results</a:t>
              </a: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200" kern="1200" dirty="0">
                <a:latin typeface="Maiandra GD" panose="020E0502030308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13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schemeClr val="tx1"/>
                </a:solidFill>
                <a:latin typeface="Maiandra GD" panose="020E0502030308020204" pitchFamily="34" charset="0"/>
              </a:rPr>
              <a:t>Collaborative Time for Teachers</a:t>
            </a:r>
            <a:endParaRPr lang="en-US" dirty="0">
              <a:solidFill>
                <a:schemeClr val="tx1"/>
              </a:solidFill>
              <a:latin typeface="Maiandra GD" panose="020E0502030308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048000" y="2118360"/>
            <a:ext cx="7696519" cy="4557961"/>
            <a:chOff x="573206" y="2122569"/>
            <a:chExt cx="6547488" cy="4024562"/>
          </a:xfrm>
        </p:grpSpPr>
        <p:pic>
          <p:nvPicPr>
            <p:cNvPr id="7" name="Content Placeholder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3206" y="2122569"/>
              <a:ext cx="6547488" cy="3868774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573206" y="4209148"/>
              <a:ext cx="6547488" cy="193798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25000"/>
              </a:schemeClr>
            </a:solidFill>
            <a:ln w="5715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>
                    <a:alpha val="4000"/>
                  </a:schemeClr>
                </a:solidFill>
              </a:endParaRPr>
            </a:p>
          </p:txBody>
        </p:sp>
        <p:sp>
          <p:nvSpPr>
            <p:cNvPr id="9" name="Left Arrow 8"/>
            <p:cNvSpPr/>
            <p:nvPr/>
          </p:nvSpPr>
          <p:spPr>
            <a:xfrm rot="20394597">
              <a:off x="1717811" y="3695927"/>
              <a:ext cx="2082360" cy="641231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Collaboration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" name="Left Arrow 9"/>
            <p:cNvSpPr/>
            <p:nvPr/>
          </p:nvSpPr>
          <p:spPr>
            <a:xfrm rot="20350229">
              <a:off x="1759851" y="4358883"/>
              <a:ext cx="2251762" cy="634063"/>
            </a:xfrm>
            <a:prstGeom prst="leftArrow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Learning 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" name="Left Arrow 10"/>
            <p:cNvSpPr/>
            <p:nvPr/>
          </p:nvSpPr>
          <p:spPr>
            <a:xfrm rot="20289921">
              <a:off x="1818878" y="5028460"/>
              <a:ext cx="2276148" cy="688232"/>
            </a:xfrm>
            <a:prstGeom prst="left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</a:rPr>
                <a:t>Results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036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1767969" y="1312554"/>
            <a:ext cx="4660069" cy="419549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32893" y="824202"/>
            <a:ext cx="4553822" cy="4915075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1767969" y="813889"/>
            <a:ext cx="2385289" cy="210333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</a:rPr>
              <a:t>How does this cycle compare to the traditional lesson study cycle?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5433622" y="2616882"/>
            <a:ext cx="2461355" cy="222041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</a:rPr>
              <a:t>Of the four stages, which stage </a:t>
            </a:r>
            <a:r>
              <a:rPr lang="en-US" sz="2200" dirty="0" smtClean="0">
                <a:solidFill>
                  <a:schemeClr val="tx1"/>
                </a:solidFill>
              </a:rPr>
              <a:t>do you and/or your teachers do really well?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9322099" y="4480607"/>
            <a:ext cx="2594788" cy="205487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solidFill>
                  <a:schemeClr val="tx1"/>
                </a:solidFill>
              </a:rPr>
              <a:t>Which stage could have the most impact on student achievement? Explain. </a:t>
            </a:r>
          </a:p>
        </p:txBody>
      </p:sp>
    </p:spTree>
    <p:extLst>
      <p:ext uri="{BB962C8B-B14F-4D97-AF65-F5344CB8AC3E}">
        <p14:creationId xmlns:p14="http://schemas.microsoft.com/office/powerpoint/2010/main" val="97292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iPD Lesson Study Cycle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3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1677" y="2185203"/>
            <a:ext cx="4823980" cy="434068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71423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Windy Hill Middle School </a:t>
            </a:r>
            <a:endParaRPr lang="en-US" dirty="0">
              <a:latin typeface="Maiandra GD" panose="020E0502030308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9559" y="2285999"/>
            <a:ext cx="5657541" cy="307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53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Principles of Effective PD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7230" y="2423158"/>
            <a:ext cx="10018713" cy="3124201"/>
          </a:xfrm>
        </p:spPr>
        <p:txBody>
          <a:bodyPr/>
          <a:lstStyle/>
          <a:p>
            <a:r>
              <a:rPr lang="en-US" dirty="0" smtClean="0">
                <a:latin typeface="Maiandra GD" panose="020E0502030308020204" pitchFamily="34" charset="0"/>
              </a:rPr>
              <a:t>A clear focus on learning and learners 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An emphasis on individual and organizational change 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Small changes guided by a grand vision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On-going professional development that is procedurally embedded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5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72600" y="257175"/>
            <a:ext cx="2237103" cy="2990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93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2682" y="716280"/>
            <a:ext cx="9323704" cy="1752599"/>
          </a:xfrm>
        </p:spPr>
        <p:txBody>
          <a:bodyPr/>
          <a:lstStyle/>
          <a:p>
            <a:pPr algn="l"/>
            <a:r>
              <a:rPr lang="en-US" dirty="0" smtClean="0">
                <a:solidFill>
                  <a:schemeClr val="tx1"/>
                </a:solidFill>
                <a:latin typeface="Maiandra GD" panose="020E0502030308020204" pitchFamily="34" charset="0"/>
              </a:rPr>
              <a:t>Our current work  </a:t>
            </a:r>
            <a:endParaRPr lang="en-US" dirty="0">
              <a:solidFill>
                <a:schemeClr val="tx1"/>
              </a:solidFill>
              <a:latin typeface="Maiandra GD" panose="020E0502030308020204" pitchFamily="34" charset="0"/>
            </a:endParaRPr>
          </a:p>
        </p:txBody>
      </p:sp>
      <p:graphicFrame>
        <p:nvGraphicFramePr>
          <p:cNvPr id="4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1964094"/>
              </p:ext>
            </p:extLst>
          </p:nvPr>
        </p:nvGraphicFramePr>
        <p:xfrm>
          <a:off x="2165602" y="2293431"/>
          <a:ext cx="9294878" cy="3629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714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168239"/>
              </p:ext>
            </p:extLst>
          </p:nvPr>
        </p:nvGraphicFramePr>
        <p:xfrm>
          <a:off x="2788126" y="1737360"/>
          <a:ext cx="8815358" cy="48615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407679"/>
                <a:gridCol w="4407679"/>
              </a:tblGrid>
              <a:tr h="2336047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latin typeface="Maiandra GD" panose="020E0502030308020204" pitchFamily="34" charset="0"/>
                        </a:rPr>
                        <a:t>Strengths </a:t>
                      </a:r>
                    </a:p>
                    <a:p>
                      <a:pPr algn="ctr"/>
                      <a:endParaRPr lang="en-US" sz="1800" b="0" dirty="0" smtClean="0">
                        <a:latin typeface="Maiandra GD" panose="020E0502030308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dirty="0" smtClean="0">
                          <a:latin typeface="Maiandra GD" panose="020E0502030308020204" pitchFamily="34" charset="0"/>
                        </a:rPr>
                        <a:t>Structures</a:t>
                      </a: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 for Collaborative Tim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Principals participating in Colleague Circle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Improved mini-tasks and assignment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800" dirty="0"/>
                    </a:p>
                  </a:txBody>
                  <a:tcPr marL="72021" marR="72021" marT="36010" marB="360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Maiandra GD" panose="020E0502030308020204" pitchFamily="34" charset="0"/>
                        </a:rPr>
                        <a:t>Opportunities </a:t>
                      </a:r>
                    </a:p>
                    <a:p>
                      <a:pPr algn="ctr"/>
                      <a:endParaRPr lang="en-US" sz="1800" b="0" dirty="0" smtClean="0">
                        <a:latin typeface="Maiandra GD" panose="020E0502030308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dirty="0" smtClean="0">
                          <a:latin typeface="Maiandra GD" panose="020E0502030308020204" pitchFamily="34" charset="0"/>
                        </a:rPr>
                        <a:t>Alignment of district</a:t>
                      </a: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 initiatives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Involving all stakeholders in the work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b="0" baseline="0" dirty="0" smtClean="0">
                          <a:latin typeface="Maiandra GD" panose="020E0502030308020204" pitchFamily="34" charset="0"/>
                        </a:rPr>
                        <a:t>Progress monitoring </a:t>
                      </a:r>
                    </a:p>
                    <a:p>
                      <a:pPr algn="l"/>
                      <a:endParaRPr lang="en-US" sz="1800" b="0" dirty="0">
                        <a:latin typeface="Maiandra GD" panose="020E0502030308020204" pitchFamily="34" charset="0"/>
                      </a:endParaRPr>
                    </a:p>
                  </a:txBody>
                  <a:tcPr marL="72021" marR="72021" marT="36010" marB="36010"/>
                </a:tc>
              </a:tr>
              <a:tr h="2525513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Maiandra GD" panose="020E0502030308020204" pitchFamily="34" charset="0"/>
                        </a:rPr>
                        <a:t>Questions</a:t>
                      </a:r>
                    </a:p>
                    <a:p>
                      <a:pPr algn="ctr"/>
                      <a:endParaRPr lang="en-US" sz="1400" dirty="0" smtClean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 smtClean="0"/>
                        <a:t>How do we seat the work so that teachers feel it</a:t>
                      </a:r>
                      <a:r>
                        <a:rPr lang="en-US" sz="1600" baseline="0" dirty="0" smtClean="0"/>
                        <a:t> is not one more thing?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baseline="0" dirty="0" smtClean="0"/>
                        <a:t>How do we bridge the necessary pieces of traditional professional development with innovative professional development?</a:t>
                      </a:r>
                      <a:endParaRPr lang="en-US" sz="1600" dirty="0" smtClean="0"/>
                    </a:p>
                    <a:p>
                      <a:pPr algn="l"/>
                      <a:endParaRPr lang="en-US" sz="1600" b="1" dirty="0"/>
                    </a:p>
                  </a:txBody>
                  <a:tcPr marL="72021" marR="72021" marT="36010" marB="360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latin typeface="Maiandra GD" panose="020E0502030308020204" pitchFamily="34" charset="0"/>
                        </a:rPr>
                        <a:t>Challenges</a:t>
                      </a:r>
                    </a:p>
                    <a:p>
                      <a:pPr algn="ctr"/>
                      <a:endParaRPr lang="en-US" sz="1800" dirty="0" smtClean="0">
                        <a:latin typeface="Maiandra GD" panose="020E0502030308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latin typeface="Maiandra GD" panose="020E0502030308020204" pitchFamily="34" charset="0"/>
                        </a:rPr>
                        <a:t>Consistency in common language across  the distric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latin typeface="Maiandra GD" panose="020E0502030308020204" pitchFamily="34" charset="0"/>
                        </a:rPr>
                        <a:t>Changing the landscape</a:t>
                      </a:r>
                      <a:r>
                        <a:rPr lang="en-US" sz="1800" baseline="0" dirty="0" smtClean="0">
                          <a:latin typeface="Maiandra GD" panose="020E0502030308020204" pitchFamily="34" charset="0"/>
                        </a:rPr>
                        <a:t> of professional learning and breaking out of the traditional framework </a:t>
                      </a:r>
                      <a:endParaRPr lang="en-US" sz="1800" dirty="0" smtClean="0">
                        <a:latin typeface="Maiandra GD" panose="020E0502030308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400" b="0" dirty="0"/>
                    </a:p>
                  </a:txBody>
                  <a:tcPr marL="72021" marR="72021" marT="36010" marB="36010"/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484310" y="106680"/>
            <a:ext cx="10018713" cy="1752599"/>
          </a:xfrm>
        </p:spPr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Our reflection</a:t>
            </a:r>
            <a:endParaRPr lang="en-US" dirty="0">
              <a:latin typeface="Maiandra GD" panose="020E05020303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86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Making Connections </a:t>
            </a:r>
            <a:endParaRPr lang="en-US" dirty="0">
              <a:latin typeface="Maiandra GD" panose="020E0502030308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0040" y="2057399"/>
            <a:ext cx="7711440" cy="4576973"/>
          </a:xfrm>
          <a:prstGeom prst="rect">
            <a:avLst/>
          </a:prstGeom>
        </p:spPr>
      </p:pic>
      <p:pic>
        <p:nvPicPr>
          <p:cNvPr id="3074" name="Picture 2" descr="Image result for star trek quote tim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3921" y="2667580"/>
            <a:ext cx="2448290" cy="292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130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2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idx="4294967295"/>
          </p:nvPr>
        </p:nvSpPr>
        <p:spPr>
          <a:xfrm>
            <a:off x="-1200150" y="825068"/>
            <a:ext cx="9601200" cy="609600"/>
          </a:xfrm>
        </p:spPr>
        <p:txBody>
          <a:bodyPr>
            <a:noAutofit/>
          </a:bodyPr>
          <a:lstStyle/>
          <a:p>
            <a:r>
              <a:rPr lang="en-US" sz="3600" dirty="0" smtClean="0">
                <a:latin typeface="Maiandra GD" panose="020E0502030308020204" pitchFamily="34" charset="0"/>
              </a:rPr>
              <a:t>September 20, </a:t>
            </a:r>
            <a:r>
              <a:rPr lang="en-US" sz="3600" dirty="0">
                <a:latin typeface="Maiandra GD" panose="020E0502030308020204" pitchFamily="34" charset="0"/>
              </a:rPr>
              <a:t>2016 </a:t>
            </a:r>
            <a:r>
              <a:rPr lang="en-US" sz="3200" dirty="0">
                <a:latin typeface="Maiandra GD" panose="020E0502030308020204" pitchFamily="34" charset="0"/>
              </a:rPr>
              <a:t/>
            </a:r>
            <a:br>
              <a:rPr lang="en-US" sz="3200" dirty="0">
                <a:latin typeface="Maiandra GD" panose="020E0502030308020204" pitchFamily="34" charset="0"/>
              </a:rPr>
            </a:br>
            <a:endParaRPr lang="en-US" sz="3200" dirty="0">
              <a:latin typeface="Maiandra GD" panose="020E0502030308020204" pitchFamily="34" charset="0"/>
            </a:endParaRPr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-431941" y="1720418"/>
          <a:ext cx="7004191" cy="4674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6338350" y="133351"/>
            <a:ext cx="5685139" cy="626153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3600" dirty="0">
                <a:solidFill>
                  <a:prstClr val="white"/>
                </a:solidFill>
                <a:latin typeface="Maiandra GD" panose="020E0502030308020204" pitchFamily="34" charset="0"/>
              </a:rPr>
              <a:t>Agenda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Community Builder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Review the Why  </a:t>
            </a:r>
            <a:endParaRPr lang="en-US" sz="2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Explore School Models 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Discuss Quality Time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Surface Lessons Learned  </a:t>
            </a:r>
          </a:p>
          <a:p>
            <a:pPr>
              <a:defRPr/>
            </a:pPr>
            <a:endParaRPr lang="en-US" sz="36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Maiandra GD" panose="020E0502030308020204" pitchFamily="34" charset="0"/>
              </a:rPr>
              <a:t>Next Steps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prstClr val="white"/>
                </a:solidFill>
                <a:latin typeface="Maiandra GD" panose="020E0502030308020204" pitchFamily="34" charset="0"/>
              </a:rPr>
              <a:t>Find time for job-embedded professional development in your district…      </a:t>
            </a:r>
            <a:endParaRPr lang="en-US" sz="2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algn="ctr">
              <a:defRPr/>
            </a:pPr>
            <a:endParaRPr lang="en-US" sz="1400" dirty="0">
              <a:solidFill>
                <a:prstClr val="white"/>
              </a:solidFill>
              <a:latin typeface="Maiandra GD" panose="020E0502030308020204" pitchFamily="34" charset="0"/>
            </a:endParaRPr>
          </a:p>
          <a:p>
            <a:pPr algn="ctr">
              <a:defRPr/>
            </a:pPr>
            <a:endParaRPr lang="en-US" sz="1400" dirty="0">
              <a:solidFill>
                <a:prstClr val="white"/>
              </a:solidFill>
              <a:latin typeface="Maiandra GD" panose="020E0502030308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5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Four Corners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4311" y="2118994"/>
            <a:ext cx="2505866" cy="356525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5516881" y="586739"/>
            <a:ext cx="5846456" cy="5744576"/>
          </a:xfrm>
        </p:spPr>
        <p:txBody>
          <a:bodyPr>
            <a:normAutofit lnSpcReduction="10000"/>
          </a:bodyPr>
          <a:lstStyle/>
          <a:p>
            <a:r>
              <a:rPr lang="en-US" sz="2800" dirty="0" smtClean="0">
                <a:latin typeface="Maiandra GD" panose="020E0502030308020204" pitchFamily="34" charset="0"/>
              </a:rPr>
              <a:t>Move to the corner that you are most associated with…  (Elementary, Middle, High, District) </a:t>
            </a:r>
          </a:p>
          <a:p>
            <a:r>
              <a:rPr lang="en-US" sz="2800" dirty="0" smtClean="0">
                <a:latin typeface="Maiandra GD" panose="020E0502030308020204" pitchFamily="34" charset="0"/>
              </a:rPr>
              <a:t>Pair up and Talk</a:t>
            </a:r>
            <a:r>
              <a:rPr lang="en-US" dirty="0" smtClean="0">
                <a:latin typeface="Maiandra GD" panose="020E0502030308020204" pitchFamily="34" charset="0"/>
              </a:rPr>
              <a:t> </a:t>
            </a:r>
          </a:p>
          <a:p>
            <a:pPr lvl="1"/>
            <a:r>
              <a:rPr lang="en-US" sz="2400" dirty="0" smtClean="0">
                <a:latin typeface="Maiandra GD" panose="020E0502030308020204" pitchFamily="34" charset="0"/>
              </a:rPr>
              <a:t>Introduce yourself to your partner and share where you are from </a:t>
            </a:r>
          </a:p>
          <a:p>
            <a:pPr lvl="1"/>
            <a:r>
              <a:rPr lang="en-US" sz="2400" dirty="0" smtClean="0">
                <a:latin typeface="Maiandra GD" panose="020E0502030308020204" pitchFamily="34" charset="0"/>
              </a:rPr>
              <a:t>Discuss what you would like to take-away from this session</a:t>
            </a:r>
            <a:endParaRPr lang="en-US" sz="2400" dirty="0">
              <a:latin typeface="Maiandra GD" panose="020E0502030308020204" pitchFamily="34" charset="0"/>
            </a:endParaRPr>
          </a:p>
          <a:p>
            <a:r>
              <a:rPr lang="en-US" sz="2800" dirty="0" smtClean="0">
                <a:latin typeface="Maiandra GD" panose="020E0502030308020204" pitchFamily="34" charset="0"/>
              </a:rPr>
              <a:t>Corner group comes back together. </a:t>
            </a:r>
            <a:endParaRPr lang="en-US" sz="2800" dirty="0">
              <a:latin typeface="Maiandra GD" panose="020E0502030308020204" pitchFamily="34" charset="0"/>
            </a:endParaRPr>
          </a:p>
          <a:p>
            <a:r>
              <a:rPr lang="en-US" sz="2800" dirty="0" smtClean="0">
                <a:latin typeface="Maiandra GD" panose="020E0502030308020204" pitchFamily="34" charset="0"/>
              </a:rPr>
              <a:t>Be Prepared to Share Out Whole Group from each Level </a:t>
            </a:r>
            <a:endParaRPr lang="en-US" sz="2800" dirty="0">
              <a:latin typeface="Maiandra GD" panose="020E0502030308020204" pitchFamily="34" charset="0"/>
            </a:endParaRPr>
          </a:p>
          <a:p>
            <a:endParaRPr lang="en-US" dirty="0"/>
          </a:p>
        </p:txBody>
      </p:sp>
      <p:pic>
        <p:nvPicPr>
          <p:cNvPr id="2052" name="Picture 4" descr="Image result for space the final frontier star tre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3753" y="4084502"/>
            <a:ext cx="1929776" cy="2513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77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Lake County Schools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Maiandra GD" panose="020E0502030308020204" pitchFamily="34" charset="0"/>
              </a:rPr>
              <a:t>Urban, suburban and rural schools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40 Traditional schools + 7 Charter and Special Focus Schools 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Over 44,000 students 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61% Free and Reduced Lunch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13% Special Needs </a:t>
            </a:r>
          </a:p>
          <a:p>
            <a:r>
              <a:rPr lang="en-US" dirty="0" smtClean="0">
                <a:latin typeface="Maiandra GD" panose="020E0502030308020204" pitchFamily="34" charset="0"/>
              </a:rPr>
              <a:t>Near bottom of ranking on per student funding in Florida </a:t>
            </a:r>
          </a:p>
          <a:p>
            <a:endParaRPr lang="en-US" dirty="0"/>
          </a:p>
        </p:txBody>
      </p:sp>
      <p:pic>
        <p:nvPicPr>
          <p:cNvPr id="7" name="Picture Placeholder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01049" y="310067"/>
            <a:ext cx="3521641" cy="23569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14117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Why more time?</a:t>
            </a:r>
            <a:endParaRPr lang="en-US" dirty="0">
              <a:latin typeface="Maiandra GD" panose="020E0502030308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8678" y="2143600"/>
            <a:ext cx="10284345" cy="216312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7078" y="4710796"/>
            <a:ext cx="6373177" cy="196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624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Why a schedule change? </a:t>
            </a:r>
            <a:endParaRPr lang="en-US" dirty="0">
              <a:latin typeface="Maiandra GD" panose="020E0502030308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4311" y="2270760"/>
            <a:ext cx="4981575" cy="33528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7560" y="2709062"/>
            <a:ext cx="6989456" cy="40308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2373" y="3318510"/>
            <a:ext cx="5200650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37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latin typeface="Maiandra GD" panose="020E0502030308020204" pitchFamily="34" charset="0"/>
              </a:rPr>
              <a:t>Think about Time</a:t>
            </a:r>
            <a:endParaRPr lang="en-US" dirty="0">
              <a:latin typeface="Maiandra GD" panose="020E0502030308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3437" y="251018"/>
            <a:ext cx="1906801" cy="1906801"/>
          </a:xfrm>
        </p:spPr>
      </p:pic>
      <p:sp>
        <p:nvSpPr>
          <p:cNvPr id="4" name="Content Placeholder 3"/>
          <p:cNvSpPr>
            <a:spLocks noGrp="1"/>
          </p:cNvSpPr>
          <p:nvPr>
            <p:ph sz="half" idx="4294967295"/>
          </p:nvPr>
        </p:nvSpPr>
        <p:spPr>
          <a:xfrm>
            <a:off x="4740169" y="2636898"/>
            <a:ext cx="6293591" cy="359686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300" dirty="0" smtClean="0">
                <a:latin typeface="Maiandra GD" panose="020E0502030308020204" pitchFamily="34" charset="0"/>
              </a:rPr>
              <a:t>“Time is of the Essence”</a:t>
            </a:r>
          </a:p>
          <a:p>
            <a:pPr marL="0" indent="0" algn="ctr">
              <a:buNone/>
            </a:pPr>
            <a:r>
              <a:rPr lang="en-US" sz="2400" dirty="0" smtClean="0">
                <a:latin typeface="Maiandra GD" panose="020E0502030308020204" pitchFamily="34" charset="0"/>
              </a:rPr>
              <a:t>As you read, consider… </a:t>
            </a:r>
          </a:p>
          <a:p>
            <a:pPr marL="0" indent="0" algn="ctr">
              <a:buNone/>
            </a:pPr>
            <a:r>
              <a:rPr lang="en-US" sz="2400" dirty="0" smtClean="0">
                <a:latin typeface="Maiandra GD" panose="020E0502030308020204" pitchFamily="34" charset="0"/>
              </a:rPr>
              <a:t>What portions of the text resonate with you and why?</a:t>
            </a:r>
          </a:p>
          <a:p>
            <a:pPr marL="0" indent="0" algn="ctr">
              <a:buNone/>
            </a:pPr>
            <a:r>
              <a:rPr lang="en-US" sz="2400" dirty="0" smtClean="0">
                <a:latin typeface="Maiandra GD" panose="020E0502030308020204" pitchFamily="34" charset="0"/>
              </a:rPr>
              <a:t>For what reasons would a school or district leader pursue chunks of time?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0976247">
            <a:off x="1446347" y="2832966"/>
            <a:ext cx="2431554" cy="2840867"/>
          </a:xfrm>
          <a:prstGeom prst="rect">
            <a:avLst/>
          </a:prstGeom>
        </p:spPr>
      </p:pic>
      <p:pic>
        <p:nvPicPr>
          <p:cNvPr id="5122" name="Picture 2" descr="Image result for star trek clock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1640" y="70167"/>
            <a:ext cx="2743200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93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40" y="192658"/>
            <a:ext cx="10655299" cy="6665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033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48DEF-A7E7-402E-A5FB-D56FAF343804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447800" y="487093"/>
            <a:ext cx="7879080" cy="5562600"/>
            <a:chOff x="2537744" y="2813"/>
            <a:chExt cx="2854963" cy="1353100"/>
          </a:xfrm>
          <a:scene3d>
            <a:camera prst="orthographicFront"/>
            <a:lightRig rig="flat" dir="t"/>
          </a:scene3d>
        </p:grpSpPr>
        <p:sp>
          <p:nvSpPr>
            <p:cNvPr id="6" name="Rounded Rectangle 5"/>
            <p:cNvSpPr/>
            <p:nvPr/>
          </p:nvSpPr>
          <p:spPr>
            <a:xfrm>
              <a:off x="2537744" y="2813"/>
              <a:ext cx="2854963" cy="135310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7" name="Rounded Rectangle 4"/>
            <p:cNvSpPr/>
            <p:nvPr/>
          </p:nvSpPr>
          <p:spPr>
            <a:xfrm>
              <a:off x="2603797" y="68866"/>
              <a:ext cx="2722857" cy="122099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200" kern="1200" dirty="0"/>
            </a:p>
          </p:txBody>
        </p:sp>
      </p:grpSp>
      <p:sp>
        <p:nvSpPr>
          <p:cNvPr id="2" name="Rectangle 1"/>
          <p:cNvSpPr/>
          <p:nvPr/>
        </p:nvSpPr>
        <p:spPr>
          <a:xfrm>
            <a:off x="1809750" y="1253834"/>
            <a:ext cx="71551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>
                <a:latin typeface="Maiandra GD" panose="020E0502030308020204" pitchFamily="34" charset="0"/>
              </a:rPr>
              <a:t>Lake County Schools will design a process for extended, high-quality collaboration and professional learning for teachers and leaders to implement standards-based instruction and improve the quality of teaching and learning. </a:t>
            </a:r>
          </a:p>
          <a:p>
            <a:pPr lvl="0" algn="ctr"/>
            <a:endParaRPr lang="en-US" sz="3600" dirty="0">
              <a:latin typeface="Maiandra GD" panose="020E0502030308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100" y="3810001"/>
            <a:ext cx="3337651" cy="290820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85599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blank">
  <a:themeElements>
    <a:clrScheme name="Custom 223">
      <a:dk1>
        <a:srgbClr val="000000"/>
      </a:dk1>
      <a:lt1>
        <a:srgbClr val="FFFFFF"/>
      </a:lt1>
      <a:dk2>
        <a:srgbClr val="466371"/>
      </a:dk2>
      <a:lt2>
        <a:srgbClr val="687C4D"/>
      </a:lt2>
      <a:accent1>
        <a:srgbClr val="E2E2E2"/>
      </a:accent1>
      <a:accent2>
        <a:srgbClr val="E84F3A"/>
      </a:accent2>
      <a:accent3>
        <a:srgbClr val="BBC7AC"/>
      </a:accent3>
      <a:accent4>
        <a:srgbClr val="466371"/>
      </a:accent4>
      <a:accent5>
        <a:srgbClr val="FFF9B1"/>
      </a:accent5>
      <a:accent6>
        <a:srgbClr val="95A7A9"/>
      </a:accent6>
      <a:hlink>
        <a:srgbClr val="466371"/>
      </a:hlink>
      <a:folHlink>
        <a:srgbClr val="95A7A9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arallax">
  <a:themeElements>
    <a:clrScheme name="Marquee">
      <a:dk1>
        <a:srgbClr val="000000"/>
      </a:dk1>
      <a:lt1>
        <a:sysClr val="window" lastClr="FFFFFF"/>
      </a:lt1>
      <a:dk2>
        <a:srgbClr val="5E5E5E"/>
      </a:dk2>
      <a:lt2>
        <a:srgbClr val="DDDDDD"/>
      </a:lt2>
      <a:accent1>
        <a:srgbClr val="418AB3"/>
      </a:accent1>
      <a:accent2>
        <a:srgbClr val="A6B727"/>
      </a:accent2>
      <a:accent3>
        <a:srgbClr val="F69200"/>
      </a:accent3>
      <a:accent4>
        <a:srgbClr val="838383"/>
      </a:accent4>
      <a:accent5>
        <a:srgbClr val="FEC306"/>
      </a:accent5>
      <a:accent6>
        <a:srgbClr val="DF5327"/>
      </a:accent6>
      <a:hlink>
        <a:srgbClr val="F59E00"/>
      </a:hlink>
      <a:folHlink>
        <a:srgbClr val="B2B2B2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93B4CCAC-FD5A-4D59-B1AC-EAF45910B5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807</TotalTime>
  <Words>954</Words>
  <Application>Microsoft Office PowerPoint</Application>
  <PresentationFormat>Widescreen</PresentationFormat>
  <Paragraphs>177</Paragraphs>
  <Slides>2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orbel</vt:lpstr>
      <vt:lpstr>Gill Sans</vt:lpstr>
      <vt:lpstr>Maiandra GD</vt:lpstr>
      <vt:lpstr>Open Sans</vt:lpstr>
      <vt:lpstr>blank</vt:lpstr>
      <vt:lpstr>Parallax</vt:lpstr>
      <vt:lpstr>think-cell Slide</vt:lpstr>
      <vt:lpstr>   The Planning Period                                  and Beyond…  </vt:lpstr>
      <vt:lpstr>September 20, 2016  </vt:lpstr>
      <vt:lpstr>Four Corners </vt:lpstr>
      <vt:lpstr>Lake County Schools </vt:lpstr>
      <vt:lpstr>Why more time?</vt:lpstr>
      <vt:lpstr>Why a schedule change? </vt:lpstr>
      <vt:lpstr>Think about Time</vt:lpstr>
      <vt:lpstr>PowerPoint Presentation</vt:lpstr>
      <vt:lpstr>PowerPoint Presentation</vt:lpstr>
      <vt:lpstr>PowerPoint Presentation</vt:lpstr>
      <vt:lpstr>PowerPoint Presentation</vt:lpstr>
      <vt:lpstr>Creating the Conditions </vt:lpstr>
      <vt:lpstr>School Autonomy</vt:lpstr>
      <vt:lpstr>Gallery Walk </vt:lpstr>
      <vt:lpstr>Model A  “Spartan Middle School”  </vt:lpstr>
      <vt:lpstr>Model B  “McCue Middle School”</vt:lpstr>
      <vt:lpstr>Model C  The Consortium</vt:lpstr>
      <vt:lpstr>Model D  “Jacket High”</vt:lpstr>
      <vt:lpstr>PowerPoint Presentation</vt:lpstr>
      <vt:lpstr>PowerPoint Presentation</vt:lpstr>
      <vt:lpstr>Collaborative Time for Teachers</vt:lpstr>
      <vt:lpstr>PowerPoint Presentation</vt:lpstr>
      <vt:lpstr>iPD Lesson Study Cycle </vt:lpstr>
      <vt:lpstr>Windy Hill Middle School </vt:lpstr>
      <vt:lpstr>Principles of Effective PD </vt:lpstr>
      <vt:lpstr>Our current work  </vt:lpstr>
      <vt:lpstr>Our reflection</vt:lpstr>
      <vt:lpstr>Making Connections </vt:lpstr>
      <vt:lpstr>September 20, 2016  </vt:lpstr>
    </vt:vector>
  </TitlesOfParts>
  <Company>Lake County Schools, F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!  Collaborative Learning for Leaders</dc:title>
  <dc:creator>Pyatt, Andrea R;Edwards, Seth D</dc:creator>
  <cp:lastModifiedBy>beubanks</cp:lastModifiedBy>
  <cp:revision>48</cp:revision>
  <dcterms:created xsi:type="dcterms:W3CDTF">2016-09-17T15:17:35Z</dcterms:created>
  <dcterms:modified xsi:type="dcterms:W3CDTF">2016-09-23T16:01:55Z</dcterms:modified>
</cp:coreProperties>
</file>